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4"/>
  </p:notesMasterIdLst>
  <p:sldIdLst>
    <p:sldId id="302" r:id="rId2"/>
    <p:sldId id="332" r:id="rId3"/>
    <p:sldId id="319" r:id="rId4"/>
    <p:sldId id="272" r:id="rId5"/>
    <p:sldId id="312" r:id="rId6"/>
    <p:sldId id="313" r:id="rId7"/>
    <p:sldId id="314" r:id="rId8"/>
    <p:sldId id="299" r:id="rId9"/>
    <p:sldId id="275" r:id="rId10"/>
    <p:sldId id="320" r:id="rId11"/>
    <p:sldId id="321" r:id="rId12"/>
    <p:sldId id="322" r:id="rId13"/>
    <p:sldId id="323" r:id="rId14"/>
    <p:sldId id="324" r:id="rId15"/>
    <p:sldId id="325" r:id="rId16"/>
    <p:sldId id="287" r:id="rId17"/>
    <p:sldId id="330" r:id="rId18"/>
    <p:sldId id="288" r:id="rId19"/>
    <p:sldId id="327" r:id="rId20"/>
    <p:sldId id="328" r:id="rId21"/>
    <p:sldId id="276" r:id="rId22"/>
    <p:sldId id="292" r:id="rId23"/>
    <p:sldId id="295" r:id="rId24"/>
    <p:sldId id="296" r:id="rId25"/>
    <p:sldId id="329" r:id="rId26"/>
    <p:sldId id="308" r:id="rId27"/>
    <p:sldId id="318" r:id="rId28"/>
    <p:sldId id="281" r:id="rId29"/>
    <p:sldId id="300" r:id="rId30"/>
    <p:sldId id="301" r:id="rId31"/>
    <p:sldId id="333" r:id="rId32"/>
    <p:sldId id="331" r:id="rId33"/>
  </p:sldIdLst>
  <p:sldSz cx="12192000" cy="6858000"/>
  <p:notesSz cx="7086600" cy="9372600"/>
  <p:custDataLst>
    <p:tags r:id="rId3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A7BDE9"/>
    <a:srgbClr val="3264C8"/>
    <a:srgbClr val="7F9FDF"/>
    <a:srgbClr val="FFFFFF"/>
    <a:srgbClr val="003399"/>
    <a:srgbClr val="0000FF"/>
    <a:srgbClr val="CCFFCC"/>
    <a:srgbClr val="DFE8F1"/>
    <a:srgbClr val="C8D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04" autoAdjust="0"/>
    <p:restoredTop sz="93073" autoAdjust="0"/>
  </p:normalViewPr>
  <p:slideViewPr>
    <p:cSldViewPr showGuides="1">
      <p:cViewPr varScale="1">
        <p:scale>
          <a:sx n="147" d="100"/>
          <a:sy n="147" d="100"/>
        </p:scale>
        <p:origin x="208" y="920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1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335360" y="404664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0393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4530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92" r:id="rId3"/>
    <p:sldLayoutId id="2147483768" r:id="rId4"/>
    <p:sldLayoutId id="2147483796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en.wikipedia.org/wiki/List_of_presidents_of_the_United_States" TargetMode="External"/><Relationship Id="rId4" Type="http://schemas.openxmlformats.org/officeDocument/2006/relationships/image" Target="../media/image14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slickcharts.com/sp500" TargetMode="External"/><Relationship Id="rId5" Type="http://schemas.openxmlformats.org/officeDocument/2006/relationships/hyperlink" Target="https://www.slickcharts.com/nasdaq100" TargetMode="External"/><Relationship Id="rId4" Type="http://schemas.openxmlformats.org/officeDocument/2006/relationships/image" Target="../media/image17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: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661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Version 8.02 'Edouard Albert Roche' (2021-04-18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3070669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bg1"/>
                </a:solidFill>
              </a:rPr>
              <a:t>Transforming Big Data in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3174651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5673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5034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7833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6474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9994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30714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791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6475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3071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9274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359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2154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50156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40795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6393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3431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21352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392000" y="4007616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392000" y="4943719"/>
            <a:ext cx="3600000" cy="10052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5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1594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80" y="27376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2155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371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1196720"/>
            <a:ext cx="1872000" cy="511228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Heterogeneous data integration from branch offic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86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3404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489028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41245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20605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213253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220454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7806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85261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92462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572696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64470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29277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43679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36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501285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515687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3404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484464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412456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20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2132688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84450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56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78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306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92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78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852688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259881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the different sites originate from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2026987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78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28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50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788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64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50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572688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500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22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292688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292688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436688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400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418008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94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72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94070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508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94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6606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444688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8046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588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6606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588688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924688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644688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5012688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768796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732936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08000" y="5660927"/>
            <a:ext cx="2664296" cy="6478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 systems or manually with Exce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re than 20 different files !</a:t>
            </a:r>
          </a:p>
        </p:txBody>
      </p:sp>
      <p:sp>
        <p:nvSpPr>
          <p:cNvPr id="121" name="Flussdiagramm: Zentralspeicher 120">
            <a:extLst>
              <a:ext uri="{FF2B5EF4-FFF2-40B4-BE49-F238E27FC236}">
                <a16:creationId xmlns:a16="http://schemas.microsoft.com/office/drawing/2014/main" id="{8613B740-7362-4085-86FF-EDC4871F3AAC}"/>
              </a:ext>
            </a:extLst>
          </p:cNvPr>
          <p:cNvSpPr/>
          <p:nvPr/>
        </p:nvSpPr>
        <p:spPr>
          <a:xfrm>
            <a:off x="1488000" y="5084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501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57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285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5732704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024000" y="2060704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5952000" y="2060704"/>
            <a:ext cx="266400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37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320664" y="1700728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640664" y="1700728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Real-world Use Case #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452637"/>
            <a:ext cx="8159850" cy="360363"/>
          </a:xfrm>
        </p:spPr>
        <p:txBody>
          <a:bodyPr>
            <a:normAutofit fontScale="62500" lnSpcReduction="20000"/>
          </a:bodyPr>
          <a:lstStyle/>
          <a:p>
            <a:r>
              <a:rPr lang="en-US" sz="1100" dirty="0"/>
              <a:t>ERP = Enterprise Resource Management Databases (e.g. SAP, Oracle, BAAN, Abacus)</a:t>
            </a:r>
          </a:p>
          <a:p>
            <a:r>
              <a:rPr lang="en-US" sz="1100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84288" y="18445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76376" y="1590491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96120" y="105272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92400" y="1880596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84368" y="1772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76912" y="2348728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76352" y="5373016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83928" y="1052456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84288" y="278064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864408" y="2852656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76717" y="2737702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83928" y="270864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76912" y="3284832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84288" y="37167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92400" y="37887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80400" y="3788760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936400" y="393276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83928" y="357280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84288" y="4868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76376" y="4220808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83928" y="479687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92400" y="494088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80432" y="494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936448" y="515691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92000" y="278064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92000" y="357273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408024" y="3860768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540357" y="3964526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667357" y="3894676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76176" y="292922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80232" y="314068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76176" y="378876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80232" y="3140688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657113" y="3993177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92000" y="48688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76176" y="501746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264752" y="177253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256304" y="1556512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464168" y="18445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760336" y="191655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472280" y="191655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616296" y="206055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256304" y="234860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464168" y="263663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264352" y="2492616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2708640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256304" y="3140688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464168" y="34287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88328" y="35007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4288" y="3492716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264352" y="3356712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76000" y="47248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256256" y="3932776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264352" y="4796728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76376" y="5949000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104768" y="1556512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104768" y="1556512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72664" y="2852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72664" y="3644616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272616" y="494072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4963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4P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3287685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he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Approach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the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quickly</a:t>
            </a:r>
            <a:r>
              <a:rPr lang="en-US" sz="1400" dirty="0"/>
              <a:t> to 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e natural</a:t>
            </a:r>
            <a:r>
              <a:rPr lang="en-US" sz="1400" dirty="0"/>
              <a:t> and less cryptic. Giver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Tables</a:t>
            </a:r>
            <a:r>
              <a:rPr lang="en-US" sz="1400" dirty="0"/>
              <a:t> of any size are one of the main data storage models and </a:t>
            </a:r>
            <a:r>
              <a:rPr lang="en-US" sz="1400" dirty="0" err="1"/>
              <a:t>B4P</a:t>
            </a:r>
            <a:r>
              <a:rPr lang="en-US" sz="1400" dirty="0"/>
              <a:t>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bureaucrac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High focus on </a:t>
            </a:r>
            <a:r>
              <a:rPr lang="en-US" sz="1400" b="1" dirty="0">
                <a:solidFill>
                  <a:srgbClr val="003399"/>
                </a:solidFill>
              </a:rPr>
              <a:t>cross-platform portability </a:t>
            </a:r>
            <a:r>
              <a:rPr lang="en-US" sz="1400" dirty="0"/>
              <a:t>(Windows, Linux, MacOS, etc.), enabling to run the same code on different platfor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B4P output files for </a:t>
            </a:r>
            <a:r>
              <a:rPr lang="en-US" sz="1400" b="1" dirty="0">
                <a:solidFill>
                  <a:srgbClr val="003399"/>
                </a:solidFill>
              </a:rPr>
              <a:t>Excel 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with ca </a:t>
            </a:r>
            <a:r>
              <a:rPr lang="en-US" sz="1400" b="1" dirty="0">
                <a:solidFill>
                  <a:srgbClr val="003399"/>
                </a:solidFill>
              </a:rPr>
              <a:t>800 functions</a:t>
            </a:r>
            <a:r>
              <a:rPr lang="en-US" sz="1400" dirty="0"/>
              <a:t>, including 200 functions for processing tables, and growing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2977C84-DDDD-43A9-87CC-686BCD2325A2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language allows you to express yourself easily in plain English to solve the problem.  Focus on the </a:t>
            </a:r>
            <a:r>
              <a:rPr lang="en-US" sz="1400" b="1" i="1" dirty="0">
                <a:solidFill>
                  <a:schemeClr val="bg1"/>
                </a:solidFill>
              </a:rPr>
              <a:t>what</a:t>
            </a:r>
            <a:r>
              <a:rPr lang="en-US" sz="1400" b="1" dirty="0">
                <a:solidFill>
                  <a:schemeClr val="bg1"/>
                </a:solidFill>
              </a:rPr>
              <a:t>, not the </a:t>
            </a:r>
            <a:r>
              <a:rPr lang="en-US" sz="1400" b="1" i="1" dirty="0">
                <a:solidFill>
                  <a:schemeClr val="bg1"/>
                </a:solidFill>
              </a:rPr>
              <a:t>how</a:t>
            </a:r>
            <a:r>
              <a:rPr lang="en-US" sz="1400" b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3852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The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anguage 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1053000"/>
            <a:ext cx="11196980" cy="4896544"/>
          </a:xfrm>
        </p:spPr>
        <p:txBody>
          <a:bodyPr>
            <a:normAutofit fontScale="92500" lnSpcReduction="10000"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Full Excel support, including formatting and style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riables organized in a dynamic tree, allowing to build up nested arrays and structures.</a:t>
            </a:r>
            <a:br>
              <a:rPr lang="en-US" sz="1400" dirty="0"/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 Load / save sophisticated JSON contents to / from the variable structure using 1 statement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: 	table process (...),  pick if (...)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Benefit: 	Eliminates need to write loops or other details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Cross platform compatibility: Windows / Linux / MacOS:</a:t>
            </a:r>
            <a:br>
              <a:rPr lang="en-US" sz="1400" dirty="0"/>
            </a:br>
            <a:r>
              <a:rPr lang="en-US" sz="1200" dirty="0"/>
              <a:t>-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names with directory paths are understood and interpreted correctly in other platforms (e.g. Windows vs. Linux).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Your program does not need to be modified to run on a different system.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1. </a:t>
            </a:r>
            <a:r>
              <a:rPr lang="en-US" sz="1400" b="1" dirty="0">
                <a:solidFill>
                  <a:srgbClr val="003399"/>
                </a:solidFill>
              </a:rPr>
              <a:t>Use the 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to process your big data.  They deliver naked machine performance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2. 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3. Think how you can formulate your code in a very compact manner without compromising comprehensibility. </a:t>
            </a:r>
            <a:endParaRPr lang="en-US" sz="1400" b="1" dirty="0">
              <a:solidFill>
                <a:srgbClr val="003399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1908F5E-979C-4701-8FAD-27FFBC98F24D}"/>
              </a:ext>
            </a:extLst>
          </p:cNvPr>
          <p:cNvSpPr/>
          <p:nvPr/>
        </p:nvSpPr>
        <p:spPr>
          <a:xfrm>
            <a:off x="479376" y="494100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"Think Big" when writing code – and do great things with 5-20 statements</a:t>
            </a:r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4P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9563976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2 Tables: Problem Statemen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340999"/>
            <a:ext cx="3887999" cy="151371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981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01" y="3141032"/>
            <a:ext cx="2664000" cy="1944201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480000" y="5157000"/>
            <a:ext cx="11232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A new football club should be created after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contain different acronyms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80000" y="2853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2951" y="1269000"/>
            <a:ext cx="4189049" cy="3854953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535584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New 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22" name="Group 23">
            <a:extLst>
              <a:ext uri="{FF2B5EF4-FFF2-40B4-BE49-F238E27FC236}">
                <a16:creationId xmlns:a16="http://schemas.microsoft.com/office/drawing/2014/main" id="{F85FC763-1FBF-4093-B225-D79F6B9C25B9}"/>
              </a:ext>
            </a:extLst>
          </p:cNvPr>
          <p:cNvGrpSpPr/>
          <p:nvPr/>
        </p:nvGrpSpPr>
        <p:grpSpPr>
          <a:xfrm>
            <a:off x="4872000" y="2349000"/>
            <a:ext cx="1974449" cy="1202399"/>
            <a:chOff x="4625551" y="2005520"/>
            <a:chExt cx="1974449" cy="1202399"/>
          </a:xfrm>
        </p:grpSpPr>
        <p:grpSp>
          <p:nvGrpSpPr>
            <p:cNvPr id="23" name="Gruppieren 8">
              <a:extLst>
                <a:ext uri="{FF2B5EF4-FFF2-40B4-BE49-F238E27FC236}">
                  <a16:creationId xmlns:a16="http://schemas.microsoft.com/office/drawing/2014/main" id="{7E7518FD-2037-4177-8A1B-2672B250FEFD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0" name="B4P">
                <a:extLst>
                  <a:ext uri="{FF2B5EF4-FFF2-40B4-BE49-F238E27FC236}">
                    <a16:creationId xmlns:a16="http://schemas.microsoft.com/office/drawing/2014/main" id="{C7CDC852-DED3-4E07-A896-6A52F9858254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1" name="Triangle">
                <a:extLst>
                  <a:ext uri="{FF2B5EF4-FFF2-40B4-BE49-F238E27FC236}">
                    <a16:creationId xmlns:a16="http://schemas.microsoft.com/office/drawing/2014/main" id="{263946F8-732A-42EF-B1ED-1DD30373223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4" name="Gruppieren 20">
              <a:extLst>
                <a:ext uri="{FF2B5EF4-FFF2-40B4-BE49-F238E27FC236}">
                  <a16:creationId xmlns:a16="http://schemas.microsoft.com/office/drawing/2014/main" id="{1CB3CAFA-3ED1-4FBC-8C86-0847DEF50AD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7" name="Rechteck: abgerundete Ecken 14">
                <a:extLst>
                  <a:ext uri="{FF2B5EF4-FFF2-40B4-BE49-F238E27FC236}">
                    <a16:creationId xmlns:a16="http://schemas.microsoft.com/office/drawing/2014/main" id="{6813E270-1208-48E6-BB2F-17F6236B1029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B4P">
                <a:extLst>
                  <a:ext uri="{FF2B5EF4-FFF2-40B4-BE49-F238E27FC236}">
                    <a16:creationId xmlns:a16="http://schemas.microsoft.com/office/drawing/2014/main" id="{82628F3A-6863-48A1-8375-17D016BFDA9D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9" name="Triangle">
                <a:extLst>
                  <a:ext uri="{FF2B5EF4-FFF2-40B4-BE49-F238E27FC236}">
                    <a16:creationId xmlns:a16="http://schemas.microsoft.com/office/drawing/2014/main" id="{B26EC17E-5703-4D61-9C43-C8FD3CE3AEC0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5" name="Right Arrow 26">
              <a:extLst>
                <a:ext uri="{FF2B5EF4-FFF2-40B4-BE49-F238E27FC236}">
                  <a16:creationId xmlns:a16="http://schemas.microsoft.com/office/drawing/2014/main" id="{E6F73B7B-F7C1-4292-B82E-C1187251FC43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ight Arrow 27">
              <a:extLst>
                <a:ext uri="{FF2B5EF4-FFF2-40B4-BE49-F238E27FC236}">
                  <a16:creationId xmlns:a16="http://schemas.microsoft.com/office/drawing/2014/main" id="{397EF856-B881-405F-B43F-838C56034E2E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statements:  load, clean, align semantics, merge, and sa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ultiple words </a:t>
            </a:r>
            <a:r>
              <a:rPr lang="en-US" sz="1200" dirty="0">
                <a:solidFill>
                  <a:schemeClr val="tx1"/>
                </a:solidFill>
              </a:rPr>
              <a:t>for functions, variables, table names, header names, allow for readability and naming flexibility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80000" y="314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ne statement merg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two tables </a:t>
            </a:r>
            <a:r>
              <a:rPr lang="en-US" sz="12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</p:cNvCxnSpPr>
          <p:nvPr/>
        </p:nvCxnSpPr>
        <p:spPr>
          <a:xfrm>
            <a:off x="2712000" y="321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256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loops.  </a:t>
            </a:r>
            <a:r>
              <a:rPr lang="en-US" sz="1200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pply for whole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480000" y="1989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cel file loaded </a:t>
            </a:r>
            <a:r>
              <a:rPr lang="en-US" sz="12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a single simple state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716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9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noProof="1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	  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Last Name,First Name},{Level,Town},append," or "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r>
              <a:rPr lang="en-US" sz="10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2712000" y="2133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6EBCAB0-7C86-400F-B010-F603DAABF952}"/>
              </a:ext>
            </a:extLst>
          </p:cNvPr>
          <p:cNvCxnSpPr>
            <a:cxnSpLocks/>
          </p:cNvCxnSpPr>
          <p:nvPr/>
        </p:nvCxnSpPr>
        <p:spPr>
          <a:xfrm>
            <a:off x="660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4972A197-CE58-407B-B778-14E3B654EE8A}"/>
              </a:ext>
            </a:extLst>
          </p:cNvPr>
          <p:cNvCxnSpPr>
            <a:cxnSpLocks/>
          </p:cNvCxnSpPr>
          <p:nvPr/>
        </p:nvCxnSpPr>
        <p:spPr>
          <a:xfrm>
            <a:off x="9552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78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358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Overview:  Integration and Analytics Engine</a:t>
            </a:r>
            <a:endParaRPr lang="de-CH" dirty="0">
              <a:solidFill>
                <a:srgbClr val="2850A0"/>
              </a:solidFill>
            </a:endParaRPr>
          </a:p>
        </p:txBody>
      </p:sp>
      <p:sp>
        <p:nvSpPr>
          <p:cNvPr id="119" name="Rectangle">
            <a:extLst>
              <a:ext uri="{FF2B5EF4-FFF2-40B4-BE49-F238E27FC236}">
                <a16:creationId xmlns:a16="http://schemas.microsoft.com/office/drawing/2014/main" id="{54BAC365-DBEA-C646-88D9-C5697AC32957}"/>
              </a:ext>
            </a:extLst>
          </p:cNvPr>
          <p:cNvSpPr/>
          <p:nvPr/>
        </p:nvSpPr>
        <p:spPr>
          <a:xfrm rot="10800000">
            <a:off x="7250022" y="2228648"/>
            <a:ext cx="1769435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0" name="Triangle">
            <a:extLst>
              <a:ext uri="{FF2B5EF4-FFF2-40B4-BE49-F238E27FC236}">
                <a16:creationId xmlns:a16="http://schemas.microsoft.com/office/drawing/2014/main" id="{D1504E2D-671C-BA47-B106-52A871113DC9}"/>
              </a:ext>
            </a:extLst>
          </p:cNvPr>
          <p:cNvSpPr/>
          <p:nvPr/>
        </p:nvSpPr>
        <p:spPr>
          <a:xfrm rot="10800000">
            <a:off x="5423803" y="3307979"/>
            <a:ext cx="1828396" cy="9837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1" name="Triangle">
            <a:extLst>
              <a:ext uri="{FF2B5EF4-FFF2-40B4-BE49-F238E27FC236}">
                <a16:creationId xmlns:a16="http://schemas.microsoft.com/office/drawing/2014/main" id="{5622398D-9E4A-5845-99D7-85DCE2F199D2}"/>
              </a:ext>
            </a:extLst>
          </p:cNvPr>
          <p:cNvSpPr/>
          <p:nvPr/>
        </p:nvSpPr>
        <p:spPr>
          <a:xfrm flipH="1">
            <a:off x="5298083" y="2216641"/>
            <a:ext cx="1954116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22" name="TextBox 36">
            <a:extLst>
              <a:ext uri="{FF2B5EF4-FFF2-40B4-BE49-F238E27FC236}">
                <a16:creationId xmlns:a16="http://schemas.microsoft.com/office/drawing/2014/main" id="{471AF56E-4FFB-8541-B59E-EA32E31C410A}"/>
              </a:ext>
            </a:extLst>
          </p:cNvPr>
          <p:cNvSpPr txBox="1"/>
          <p:nvPr/>
        </p:nvSpPr>
        <p:spPr>
          <a:xfrm>
            <a:off x="1547946" y="1341000"/>
            <a:ext cx="223473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t>Multiple complex 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t>data sources</a:t>
            </a: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3D53435D-E159-5A45-BC95-E5FE0FDF3B3D}"/>
              </a:ext>
            </a:extLst>
          </p:cNvPr>
          <p:cNvSpPr txBox="1"/>
          <p:nvPr/>
        </p:nvSpPr>
        <p:spPr>
          <a:xfrm>
            <a:off x="7091423" y="1341000"/>
            <a:ext cx="205524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535353"/>
                </a:solidFill>
              </a:defRPr>
            </a:pPr>
            <a:r>
              <a:t>Integrated analysis</a:t>
            </a:r>
          </a:p>
          <a:p>
            <a:pPr algn="ctr">
              <a:defRPr sz="1600" b="1">
                <a:solidFill>
                  <a:srgbClr val="535353"/>
                </a:solidFill>
              </a:defRPr>
            </a:pPr>
            <a:r>
              <a:t>in seconds</a:t>
            </a:r>
          </a:p>
        </p:txBody>
      </p:sp>
      <p:sp>
        <p:nvSpPr>
          <p:cNvPr id="124" name="TextBox 36">
            <a:extLst>
              <a:ext uri="{FF2B5EF4-FFF2-40B4-BE49-F238E27FC236}">
                <a16:creationId xmlns:a16="http://schemas.microsoft.com/office/drawing/2014/main" id="{86688CC1-A4A9-D746-AC6B-4CF10B25A876}"/>
              </a:ext>
            </a:extLst>
          </p:cNvPr>
          <p:cNvSpPr txBox="1"/>
          <p:nvPr/>
        </p:nvSpPr>
        <p:spPr>
          <a:xfrm>
            <a:off x="4319685" y="1341000"/>
            <a:ext cx="2234733" cy="54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>
                <a:solidFill>
                  <a:srgbClr val="2850B4"/>
                </a:solidFill>
              </a:defRPr>
            </a:pPr>
            <a:r>
              <a:rPr sz="1500"/>
              <a:t>B4P</a:t>
            </a:r>
            <a:r>
              <a:t> data integration and analytics engine</a:t>
            </a:r>
          </a:p>
        </p:txBody>
      </p:sp>
      <p:sp>
        <p:nvSpPr>
          <p:cNvPr id="125" name="TextBox 37">
            <a:extLst>
              <a:ext uri="{FF2B5EF4-FFF2-40B4-BE49-F238E27FC236}">
                <a16:creationId xmlns:a16="http://schemas.microsoft.com/office/drawing/2014/main" id="{3B7622A3-8DF5-CB40-89FE-0BB2445D1D30}"/>
              </a:ext>
            </a:extLst>
          </p:cNvPr>
          <p:cNvSpPr txBox="1"/>
          <p:nvPr/>
        </p:nvSpPr>
        <p:spPr>
          <a:xfrm>
            <a:off x="3784461" y="5715176"/>
            <a:ext cx="97915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 files</a:t>
            </a:r>
          </a:p>
        </p:txBody>
      </p:sp>
      <p:sp>
        <p:nvSpPr>
          <p:cNvPr id="126" name="TextBox 36">
            <a:extLst>
              <a:ext uri="{FF2B5EF4-FFF2-40B4-BE49-F238E27FC236}">
                <a16:creationId xmlns:a16="http://schemas.microsoft.com/office/drawing/2014/main" id="{51EC99A9-E88C-0941-A7B4-85241C829BF2}"/>
              </a:ext>
            </a:extLst>
          </p:cNvPr>
          <p:cNvSpPr txBox="1"/>
          <p:nvPr/>
        </p:nvSpPr>
        <p:spPr>
          <a:xfrm>
            <a:off x="4792461" y="5909698"/>
            <a:ext cx="37277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Database exports (Salesforce, Oracle, SAP,  </a:t>
            </a:r>
            <a:r>
              <a:rPr lang="en-US" sz="1000" dirty="0" err="1"/>
              <a:t>Filemaker</a:t>
            </a:r>
            <a:r>
              <a:rPr sz="1000" dirty="0"/>
              <a:t>,</a:t>
            </a:r>
            <a:r>
              <a:rPr lang="en-US" sz="1000" dirty="0"/>
              <a:t> et al</a:t>
            </a:r>
            <a:r>
              <a:rPr sz="1000" dirty="0"/>
              <a:t>)</a:t>
            </a:r>
          </a:p>
        </p:txBody>
      </p:sp>
      <p:sp>
        <p:nvSpPr>
          <p:cNvPr id="127" name="TextBox 49">
            <a:extLst>
              <a:ext uri="{FF2B5EF4-FFF2-40B4-BE49-F238E27FC236}">
                <a16:creationId xmlns:a16="http://schemas.microsoft.com/office/drawing/2014/main" id="{EF3CBDCF-51A7-A947-88AD-0893A0B99556}"/>
              </a:ext>
            </a:extLst>
          </p:cNvPr>
          <p:cNvSpPr txBox="1"/>
          <p:nvPr/>
        </p:nvSpPr>
        <p:spPr>
          <a:xfrm>
            <a:off x="4792461" y="6104218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Internet sources of structured data (websites, web services)</a:t>
            </a:r>
          </a:p>
        </p:txBody>
      </p:sp>
      <p:sp>
        <p:nvSpPr>
          <p:cNvPr id="128" name="TextBox 49">
            <a:extLst>
              <a:ext uri="{FF2B5EF4-FFF2-40B4-BE49-F238E27FC236}">
                <a16:creationId xmlns:a16="http://schemas.microsoft.com/office/drawing/2014/main" id="{3615CF37-596B-8840-98B5-292881859848}"/>
              </a:ext>
            </a:extLst>
          </p:cNvPr>
          <p:cNvSpPr txBox="1"/>
          <p:nvPr/>
        </p:nvSpPr>
        <p:spPr>
          <a:xfrm>
            <a:off x="4792461" y="6298740"/>
            <a:ext cx="3240000" cy="24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sz="1000" dirty="0"/>
              <a:t>Statistical (R, SAS, SPSS, Stata), PDF (via Tabula)</a:t>
            </a:r>
          </a:p>
        </p:txBody>
      </p:sp>
      <p:sp>
        <p:nvSpPr>
          <p:cNvPr id="129" name="Rectangle">
            <a:extLst>
              <a:ext uri="{FF2B5EF4-FFF2-40B4-BE49-F238E27FC236}">
                <a16:creationId xmlns:a16="http://schemas.microsoft.com/office/drawing/2014/main" id="{A75C5200-134D-404E-AACD-C18AEEB628A2}"/>
              </a:ext>
            </a:extLst>
          </p:cNvPr>
          <p:cNvSpPr/>
          <p:nvPr/>
        </p:nvSpPr>
        <p:spPr>
          <a:xfrm>
            <a:off x="5951305" y="4454858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0" name="Rectangle">
            <a:extLst>
              <a:ext uri="{FF2B5EF4-FFF2-40B4-BE49-F238E27FC236}">
                <a16:creationId xmlns:a16="http://schemas.microsoft.com/office/drawing/2014/main" id="{5B17369B-8D1A-1549-8D70-265585C0D53C}"/>
              </a:ext>
            </a:extLst>
          </p:cNvPr>
          <p:cNvSpPr/>
          <p:nvPr/>
        </p:nvSpPr>
        <p:spPr>
          <a:xfrm>
            <a:off x="5991888" y="4498831"/>
            <a:ext cx="275796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1" name="Triangle">
            <a:extLst>
              <a:ext uri="{FF2B5EF4-FFF2-40B4-BE49-F238E27FC236}">
                <a16:creationId xmlns:a16="http://schemas.microsoft.com/office/drawing/2014/main" id="{8AA2BAE0-4F73-5C47-A0AA-FCD80D21C2F9}"/>
              </a:ext>
            </a:extLst>
          </p:cNvPr>
          <p:cNvSpPr/>
          <p:nvPr/>
        </p:nvSpPr>
        <p:spPr>
          <a:xfrm>
            <a:off x="3499954" y="2303704"/>
            <a:ext cx="1769434" cy="9837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2" name="Triangle">
            <a:extLst>
              <a:ext uri="{FF2B5EF4-FFF2-40B4-BE49-F238E27FC236}">
                <a16:creationId xmlns:a16="http://schemas.microsoft.com/office/drawing/2014/main" id="{913B95A0-F60E-6745-9D46-A0B68918CD50}"/>
              </a:ext>
            </a:extLst>
          </p:cNvPr>
          <p:cNvSpPr/>
          <p:nvPr/>
        </p:nvSpPr>
        <p:spPr>
          <a:xfrm rot="10800000" flipH="1">
            <a:off x="3499954" y="3280398"/>
            <a:ext cx="1891100" cy="1087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3" name="Rectangle">
            <a:extLst>
              <a:ext uri="{FF2B5EF4-FFF2-40B4-BE49-F238E27FC236}">
                <a16:creationId xmlns:a16="http://schemas.microsoft.com/office/drawing/2014/main" id="{9FB025A3-E73A-4A43-B164-7ECD5D92394A}"/>
              </a:ext>
            </a:extLst>
          </p:cNvPr>
          <p:cNvSpPr/>
          <p:nvPr/>
        </p:nvSpPr>
        <p:spPr>
          <a:xfrm>
            <a:off x="1664757" y="2286707"/>
            <a:ext cx="1828396" cy="2061936"/>
          </a:xfrm>
          <a:prstGeom prst="rect">
            <a:avLst/>
          </a:prstGeom>
          <a:solidFill>
            <a:schemeClr val="bg1">
              <a:lumMod val="65000"/>
              <a:alpha val="11315"/>
            </a:schemeClr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34" name="Rounded Rectangle">
            <a:extLst>
              <a:ext uri="{FF2B5EF4-FFF2-40B4-BE49-F238E27FC236}">
                <a16:creationId xmlns:a16="http://schemas.microsoft.com/office/drawing/2014/main" id="{93E5775C-163B-7F4B-BB46-404B1E75771E}"/>
              </a:ext>
            </a:extLst>
          </p:cNvPr>
          <p:cNvSpPr/>
          <p:nvPr/>
        </p:nvSpPr>
        <p:spPr>
          <a:xfrm>
            <a:off x="4210554" y="2566604"/>
            <a:ext cx="2633112" cy="1385649"/>
          </a:xfrm>
          <a:prstGeom prst="roundRect">
            <a:avLst>
              <a:gd name="adj" fmla="val 13748"/>
            </a:avLst>
          </a:prstGeom>
          <a:gradFill>
            <a:gsLst>
              <a:gs pos="0">
                <a:srgbClr val="1E2D78"/>
              </a:gs>
              <a:gs pos="100000">
                <a:srgbClr val="3C5AB4"/>
              </a:gs>
            </a:gsLst>
            <a:lin ang="5400000"/>
          </a:gradFill>
          <a:ln w="12700">
            <a:miter lim="400000"/>
          </a:ln>
          <a:effectLst>
            <a:outerShdw blurRad="38100" dist="78217" dir="12543089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>
                <a:solidFill>
                  <a:srgbClr val="2D5AB4"/>
                </a:solidFill>
              </a:defRPr>
            </a:pPr>
            <a:endParaRPr/>
          </a:p>
        </p:txBody>
      </p:sp>
      <p:sp>
        <p:nvSpPr>
          <p:cNvPr id="135" name="TextBox 36">
            <a:extLst>
              <a:ext uri="{FF2B5EF4-FFF2-40B4-BE49-F238E27FC236}">
                <a16:creationId xmlns:a16="http://schemas.microsoft.com/office/drawing/2014/main" id="{75793615-E0A4-E840-A8CD-612161259C0B}"/>
              </a:ext>
            </a:extLst>
          </p:cNvPr>
          <p:cNvSpPr txBox="1"/>
          <p:nvPr/>
        </p:nvSpPr>
        <p:spPr>
          <a:xfrm>
            <a:off x="1866065" y="3400185"/>
            <a:ext cx="924383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bases</a:t>
            </a:r>
          </a:p>
        </p:txBody>
      </p:sp>
      <p:sp>
        <p:nvSpPr>
          <p:cNvPr id="136" name="TextBox 37">
            <a:extLst>
              <a:ext uri="{FF2B5EF4-FFF2-40B4-BE49-F238E27FC236}">
                <a16:creationId xmlns:a16="http://schemas.microsoft.com/office/drawing/2014/main" id="{1C06A0AF-E58D-2049-BB3D-E6D1CE911212}"/>
              </a:ext>
            </a:extLst>
          </p:cNvPr>
          <p:cNvSpPr txBox="1"/>
          <p:nvPr/>
        </p:nvSpPr>
        <p:spPr>
          <a:xfrm>
            <a:off x="1900699" y="2417224"/>
            <a:ext cx="843410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files</a:t>
            </a:r>
          </a:p>
        </p:txBody>
      </p:sp>
      <p:sp>
        <p:nvSpPr>
          <p:cNvPr id="137" name="TextBox 49">
            <a:extLst>
              <a:ext uri="{FF2B5EF4-FFF2-40B4-BE49-F238E27FC236}">
                <a16:creationId xmlns:a16="http://schemas.microsoft.com/office/drawing/2014/main" id="{E8B5CB61-6EF3-1742-993D-C4DB7BB4DED8}"/>
              </a:ext>
            </a:extLst>
          </p:cNvPr>
          <p:cNvSpPr txBox="1"/>
          <p:nvPr/>
        </p:nvSpPr>
        <p:spPr>
          <a:xfrm>
            <a:off x="1899044" y="3905879"/>
            <a:ext cx="85842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web data</a:t>
            </a:r>
          </a:p>
        </p:txBody>
      </p:sp>
      <p:sp>
        <p:nvSpPr>
          <p:cNvPr id="138" name="TextBox 36">
            <a:extLst>
              <a:ext uri="{FF2B5EF4-FFF2-40B4-BE49-F238E27FC236}">
                <a16:creationId xmlns:a16="http://schemas.microsoft.com/office/drawing/2014/main" id="{0FAC4719-114B-A849-9082-4C2A87C4444C}"/>
              </a:ext>
            </a:extLst>
          </p:cNvPr>
          <p:cNvSpPr txBox="1"/>
          <p:nvPr/>
        </p:nvSpPr>
        <p:spPr>
          <a:xfrm>
            <a:off x="5619222" y="4922491"/>
            <a:ext cx="1092360" cy="442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batch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/>
              <a:t>programs</a:t>
            </a:r>
          </a:p>
        </p:txBody>
      </p:sp>
      <p:sp>
        <p:nvSpPr>
          <p:cNvPr id="139" name="TextBox 36">
            <a:extLst>
              <a:ext uri="{FF2B5EF4-FFF2-40B4-BE49-F238E27FC236}">
                <a16:creationId xmlns:a16="http://schemas.microsoft.com/office/drawing/2014/main" id="{651EA029-0358-4B45-A284-EA47DBAE018E}"/>
              </a:ext>
            </a:extLst>
          </p:cNvPr>
          <p:cNvSpPr txBox="1"/>
          <p:nvPr/>
        </p:nvSpPr>
        <p:spPr>
          <a:xfrm>
            <a:off x="4307955" y="4933377"/>
            <a:ext cx="1092360" cy="442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interactive</a:t>
            </a:r>
          </a:p>
          <a:p>
            <a:pPr algn="ctr">
              <a:defRPr sz="1200">
                <a:solidFill>
                  <a:schemeClr val="accent1">
                    <a:satOff val="-3054"/>
                    <a:lumOff val="-11647"/>
                  </a:schemeClr>
                </a:solidFill>
              </a:defRPr>
            </a:pPr>
            <a:r>
              <a:rPr sz="1100" dirty="0"/>
              <a:t>processing</a:t>
            </a:r>
          </a:p>
        </p:txBody>
      </p:sp>
      <p:grpSp>
        <p:nvGrpSpPr>
          <p:cNvPr id="140" name="Group">
            <a:extLst>
              <a:ext uri="{FF2B5EF4-FFF2-40B4-BE49-F238E27FC236}">
                <a16:creationId xmlns:a16="http://schemas.microsoft.com/office/drawing/2014/main" id="{689E4E69-8CE2-E140-B49A-E219F0D8F976}"/>
              </a:ext>
            </a:extLst>
          </p:cNvPr>
          <p:cNvGrpSpPr/>
          <p:nvPr/>
        </p:nvGrpSpPr>
        <p:grpSpPr>
          <a:xfrm>
            <a:off x="3216351" y="2377068"/>
            <a:ext cx="288496" cy="329374"/>
            <a:chOff x="0" y="0"/>
            <a:chExt cx="288494" cy="329373"/>
          </a:xfrm>
        </p:grpSpPr>
        <p:sp>
          <p:nvSpPr>
            <p:cNvPr id="141" name="Rectangle">
              <a:extLst>
                <a:ext uri="{FF2B5EF4-FFF2-40B4-BE49-F238E27FC236}">
                  <a16:creationId xmlns:a16="http://schemas.microsoft.com/office/drawing/2014/main" id="{4D06E08E-50D4-F146-B5C9-B57C20C3A9F1}"/>
                </a:ext>
              </a:extLst>
            </p:cNvPr>
            <p:cNvSpPr/>
            <p:nvPr/>
          </p:nvSpPr>
          <p:spPr>
            <a:xfrm>
              <a:off x="0" y="0"/>
              <a:ext cx="175088" cy="256650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2" name="Rectangle">
              <a:extLst>
                <a:ext uri="{FF2B5EF4-FFF2-40B4-BE49-F238E27FC236}">
                  <a16:creationId xmlns:a16="http://schemas.microsoft.com/office/drawing/2014/main" id="{599442C6-2809-A046-A691-8763D8F29A87}"/>
                </a:ext>
              </a:extLst>
            </p:cNvPr>
            <p:cNvSpPr/>
            <p:nvPr/>
          </p:nvSpPr>
          <p:spPr>
            <a:xfrm>
              <a:off x="52341" y="36361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4905046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43" name="Rectangle">
              <a:extLst>
                <a:ext uri="{FF2B5EF4-FFF2-40B4-BE49-F238E27FC236}">
                  <a16:creationId xmlns:a16="http://schemas.microsoft.com/office/drawing/2014/main" id="{7BEA43E4-7386-DB40-A681-C7B36FAF9DA6}"/>
                </a:ext>
              </a:extLst>
            </p:cNvPr>
            <p:cNvSpPr/>
            <p:nvPr/>
          </p:nvSpPr>
          <p:spPr>
            <a:xfrm>
              <a:off x="113406" y="72723"/>
              <a:ext cx="175089" cy="256651"/>
            </a:xfrm>
            <a:prstGeom prst="rect">
              <a:avLst/>
            </a:pr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65517" dir="6203283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44" name="Computer">
            <a:extLst>
              <a:ext uri="{FF2B5EF4-FFF2-40B4-BE49-F238E27FC236}">
                <a16:creationId xmlns:a16="http://schemas.microsoft.com/office/drawing/2014/main" id="{C0E20362-34B5-F246-BF96-441DA93BC92C}"/>
              </a:ext>
            </a:extLst>
          </p:cNvPr>
          <p:cNvSpPr/>
          <p:nvPr/>
        </p:nvSpPr>
        <p:spPr>
          <a:xfrm>
            <a:off x="4576032" y="4464488"/>
            <a:ext cx="535181" cy="4318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5" name="World">
            <a:extLst>
              <a:ext uri="{FF2B5EF4-FFF2-40B4-BE49-F238E27FC236}">
                <a16:creationId xmlns:a16="http://schemas.microsoft.com/office/drawing/2014/main" id="{2B91FD41-34B0-E148-87B0-2A3E0556F0B8}"/>
              </a:ext>
            </a:extLst>
          </p:cNvPr>
          <p:cNvSpPr/>
          <p:nvPr/>
        </p:nvSpPr>
        <p:spPr>
          <a:xfrm>
            <a:off x="3224584" y="3900397"/>
            <a:ext cx="272029" cy="2720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6350">
            <a:solidFill>
              <a:srgbClr val="535353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6" name="Line">
            <a:extLst>
              <a:ext uri="{FF2B5EF4-FFF2-40B4-BE49-F238E27FC236}">
                <a16:creationId xmlns:a16="http://schemas.microsoft.com/office/drawing/2014/main" id="{A1D7CA1A-3135-FA4D-83FA-3E205D5DAD12}"/>
              </a:ext>
            </a:extLst>
          </p:cNvPr>
          <p:cNvSpPr/>
          <p:nvPr/>
        </p:nvSpPr>
        <p:spPr>
          <a:xfrm>
            <a:off x="4843622" y="3948452"/>
            <a:ext cx="1" cy="492024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7" name="Line">
            <a:extLst>
              <a:ext uri="{FF2B5EF4-FFF2-40B4-BE49-F238E27FC236}">
                <a16:creationId xmlns:a16="http://schemas.microsoft.com/office/drawing/2014/main" id="{86439D4E-24FA-8647-AE3A-E80ABE75783D}"/>
              </a:ext>
            </a:extLst>
          </p:cNvPr>
          <p:cNvSpPr/>
          <p:nvPr/>
        </p:nvSpPr>
        <p:spPr>
          <a:xfrm flipV="1">
            <a:off x="6104386" y="3950352"/>
            <a:ext cx="1" cy="450932"/>
          </a:xfrm>
          <a:prstGeom prst="line">
            <a:avLst/>
          </a:prstGeom>
          <a:ln w="31750">
            <a:solidFill>
              <a:srgbClr val="0329D6">
                <a:alpha val="87615"/>
              </a:srgbClr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/>
          </a:p>
        </p:txBody>
      </p:sp>
      <p:sp>
        <p:nvSpPr>
          <p:cNvPr id="148" name="Rectangle">
            <a:extLst>
              <a:ext uri="{FF2B5EF4-FFF2-40B4-BE49-F238E27FC236}">
                <a16:creationId xmlns:a16="http://schemas.microsoft.com/office/drawing/2014/main" id="{C38C4314-39CF-AA47-A0EC-BCE1C0D04F85}"/>
              </a:ext>
            </a:extLst>
          </p:cNvPr>
          <p:cNvSpPr/>
          <p:nvPr/>
        </p:nvSpPr>
        <p:spPr>
          <a:xfrm>
            <a:off x="6040205" y="4537650"/>
            <a:ext cx="275795" cy="358561"/>
          </a:xfrm>
          <a:prstGeom prst="rect">
            <a:avLst/>
          </a:prstGeom>
          <a:solidFill>
            <a:srgbClr val="3264C8"/>
          </a:solidFill>
          <a:ln w="12700">
            <a:solidFill>
              <a:schemeClr val="accent1">
                <a:lumOff val="20882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49" name="b4p">
            <a:extLst>
              <a:ext uri="{FF2B5EF4-FFF2-40B4-BE49-F238E27FC236}">
                <a16:creationId xmlns:a16="http://schemas.microsoft.com/office/drawing/2014/main" id="{7440415E-51F7-9448-9A79-B4C5375AF509}"/>
              </a:ext>
            </a:extLst>
          </p:cNvPr>
          <p:cNvSpPr txBox="1"/>
          <p:nvPr/>
        </p:nvSpPr>
        <p:spPr>
          <a:xfrm>
            <a:off x="6041746" y="4716930"/>
            <a:ext cx="294846" cy="214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FFFFFF"/>
                </a:solidFill>
              </a:defRPr>
            </a:lvl1pPr>
          </a:lstStyle>
          <a:p>
            <a:r>
              <a:t>b4p</a:t>
            </a:r>
          </a:p>
        </p:txBody>
      </p:sp>
      <p:grpSp>
        <p:nvGrpSpPr>
          <p:cNvPr id="150" name="Group">
            <a:extLst>
              <a:ext uri="{FF2B5EF4-FFF2-40B4-BE49-F238E27FC236}">
                <a16:creationId xmlns:a16="http://schemas.microsoft.com/office/drawing/2014/main" id="{77466A44-5922-E845-B31A-1C664363E0EE}"/>
              </a:ext>
            </a:extLst>
          </p:cNvPr>
          <p:cNvGrpSpPr/>
          <p:nvPr/>
        </p:nvGrpSpPr>
        <p:grpSpPr>
          <a:xfrm>
            <a:off x="3216351" y="3361716"/>
            <a:ext cx="288496" cy="352957"/>
            <a:chOff x="0" y="0"/>
            <a:chExt cx="288495" cy="352954"/>
          </a:xfrm>
        </p:grpSpPr>
        <p:sp>
          <p:nvSpPr>
            <p:cNvPr id="151" name="Cylinder">
              <a:extLst>
                <a:ext uri="{FF2B5EF4-FFF2-40B4-BE49-F238E27FC236}">
                  <a16:creationId xmlns:a16="http://schemas.microsoft.com/office/drawing/2014/main" id="{F8C4FD13-50EB-1444-8048-B21BF6241491}"/>
                </a:ext>
              </a:extLst>
            </p:cNvPr>
            <p:cNvSpPr/>
            <p:nvPr/>
          </p:nvSpPr>
          <p:spPr>
            <a:xfrm>
              <a:off x="0" y="0"/>
              <a:ext cx="201349" cy="265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78217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52" name="Cylinder">
              <a:extLst>
                <a:ext uri="{FF2B5EF4-FFF2-40B4-BE49-F238E27FC236}">
                  <a16:creationId xmlns:a16="http://schemas.microsoft.com/office/drawing/2014/main" id="{F31FCC9D-88C9-5A4F-AC86-C9B5480DB87A}"/>
                </a:ext>
              </a:extLst>
            </p:cNvPr>
            <p:cNvSpPr/>
            <p:nvPr/>
          </p:nvSpPr>
          <p:spPr>
            <a:xfrm>
              <a:off x="87146" y="87146"/>
              <a:ext cx="201349" cy="265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9" y="0"/>
                  </a:moveTo>
                  <a:cubicBezTo>
                    <a:pt x="7321" y="0"/>
                    <a:pt x="4803" y="241"/>
                    <a:pt x="2882" y="724"/>
                  </a:cubicBezTo>
                  <a:cubicBezTo>
                    <a:pt x="-961" y="1689"/>
                    <a:pt x="-961" y="3255"/>
                    <a:pt x="2882" y="4221"/>
                  </a:cubicBezTo>
                  <a:cubicBezTo>
                    <a:pt x="6724" y="5186"/>
                    <a:pt x="12954" y="5186"/>
                    <a:pt x="16796" y="4221"/>
                  </a:cubicBezTo>
                  <a:cubicBezTo>
                    <a:pt x="20639" y="3255"/>
                    <a:pt x="20639" y="1689"/>
                    <a:pt x="16796" y="724"/>
                  </a:cubicBezTo>
                  <a:cubicBezTo>
                    <a:pt x="14875" y="241"/>
                    <a:pt x="12357" y="0"/>
                    <a:pt x="9839" y="0"/>
                  </a:cubicBezTo>
                  <a:close/>
                  <a:moveTo>
                    <a:pt x="0" y="3593"/>
                  </a:moveTo>
                  <a:lnTo>
                    <a:pt x="0" y="18993"/>
                  </a:lnTo>
                  <a:cubicBezTo>
                    <a:pt x="0" y="20356"/>
                    <a:pt x="4405" y="21600"/>
                    <a:pt x="9839" y="21600"/>
                  </a:cubicBezTo>
                  <a:cubicBezTo>
                    <a:pt x="15273" y="21600"/>
                    <a:pt x="19678" y="20356"/>
                    <a:pt x="19678" y="18993"/>
                  </a:cubicBezTo>
                  <a:lnTo>
                    <a:pt x="19678" y="3593"/>
                  </a:lnTo>
                  <a:cubicBezTo>
                    <a:pt x="18279" y="4621"/>
                    <a:pt x="14401" y="5357"/>
                    <a:pt x="9839" y="5357"/>
                  </a:cubicBezTo>
                  <a:cubicBezTo>
                    <a:pt x="5277" y="5357"/>
                    <a:pt x="1399" y="4621"/>
                    <a:pt x="0" y="3593"/>
                  </a:cubicBezTo>
                  <a:close/>
                </a:path>
              </a:pathLst>
            </a:custGeom>
            <a:solidFill>
              <a:srgbClr val="FFFFFF"/>
            </a:solidFill>
            <a:ln w="19050" cap="flat">
              <a:solidFill>
                <a:schemeClr val="accent1"/>
              </a:solidFill>
              <a:prstDash val="solid"/>
              <a:round/>
            </a:ln>
            <a:effectLst>
              <a:outerShdw blurRad="38100" dist="71525" dir="7882388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153" name="Triangle">
            <a:extLst>
              <a:ext uri="{FF2B5EF4-FFF2-40B4-BE49-F238E27FC236}">
                <a16:creationId xmlns:a16="http://schemas.microsoft.com/office/drawing/2014/main" id="{30614AC5-33C7-3849-94C6-29575DF29852}"/>
              </a:ext>
            </a:extLst>
          </p:cNvPr>
          <p:cNvSpPr/>
          <p:nvPr/>
        </p:nvSpPr>
        <p:spPr>
          <a:xfrm rot="5400000">
            <a:off x="6110958" y="4575476"/>
            <a:ext cx="156421" cy="151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4" name="Rectangle">
            <a:extLst>
              <a:ext uri="{FF2B5EF4-FFF2-40B4-BE49-F238E27FC236}">
                <a16:creationId xmlns:a16="http://schemas.microsoft.com/office/drawing/2014/main" id="{EC167390-E19B-7040-913B-A40AE49E7255}"/>
              </a:ext>
            </a:extLst>
          </p:cNvPr>
          <p:cNvSpPr/>
          <p:nvPr/>
        </p:nvSpPr>
        <p:spPr>
          <a:xfrm>
            <a:off x="4614637" y="4501201"/>
            <a:ext cx="457972" cy="291274"/>
          </a:xfrm>
          <a:prstGeom prst="rect">
            <a:avLst/>
          </a:prstGeom>
          <a:solidFill>
            <a:srgbClr val="3264C8"/>
          </a:solidFill>
          <a:ln w="38100">
            <a:solidFill>
              <a:srgbClr val="FFFFFF"/>
            </a:solidFill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sp>
        <p:nvSpPr>
          <p:cNvPr id="155" name="&gt;b4p">
            <a:extLst>
              <a:ext uri="{FF2B5EF4-FFF2-40B4-BE49-F238E27FC236}">
                <a16:creationId xmlns:a16="http://schemas.microsoft.com/office/drawing/2014/main" id="{0B236EDA-39A2-774C-936D-284DC33E05ED}"/>
              </a:ext>
            </a:extLst>
          </p:cNvPr>
          <p:cNvSpPr txBox="1"/>
          <p:nvPr/>
        </p:nvSpPr>
        <p:spPr>
          <a:xfrm>
            <a:off x="4623122" y="4524849"/>
            <a:ext cx="390201" cy="2269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FFFFFF"/>
                </a:solidFill>
              </a:defRPr>
            </a:lvl1pPr>
          </a:lstStyle>
          <a:p>
            <a:r>
              <a:t>&gt;b4p</a:t>
            </a:r>
          </a:p>
        </p:txBody>
      </p:sp>
      <p:sp>
        <p:nvSpPr>
          <p:cNvPr id="156" name="B4P">
            <a:extLst>
              <a:ext uri="{FF2B5EF4-FFF2-40B4-BE49-F238E27FC236}">
                <a16:creationId xmlns:a16="http://schemas.microsoft.com/office/drawing/2014/main" id="{8A04DD4C-F718-0140-85F6-9162AC32E02E}"/>
              </a:ext>
            </a:extLst>
          </p:cNvPr>
          <p:cNvSpPr txBox="1"/>
          <p:nvPr/>
        </p:nvSpPr>
        <p:spPr>
          <a:xfrm>
            <a:off x="5114184" y="2509358"/>
            <a:ext cx="795894" cy="486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2800" b="1">
                <a:solidFill>
                  <a:srgbClr val="FFFFFF"/>
                </a:solidFill>
              </a:defRPr>
            </a:lvl1pPr>
          </a:lstStyle>
          <a:p>
            <a:r>
              <a:t>B4P</a:t>
            </a:r>
          </a:p>
        </p:txBody>
      </p:sp>
      <p:pic>
        <p:nvPicPr>
          <p:cNvPr id="157" name="excel2.png" descr="excel2.png">
            <a:extLst>
              <a:ext uri="{FF2B5EF4-FFF2-40B4-BE49-F238E27FC236}">
                <a16:creationId xmlns:a16="http://schemas.microsoft.com/office/drawing/2014/main" id="{1CBF0D85-39A0-434B-BED6-2CAF347B029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1082"/>
          </a:blip>
          <a:stretch>
            <a:fillRect/>
          </a:stretch>
        </p:blipFill>
        <p:spPr>
          <a:xfrm>
            <a:off x="3195911" y="2875287"/>
            <a:ext cx="329375" cy="329374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Excel, XLS, CSV,  XML, JSON, HTML, Zip, Text (and others)">
            <a:extLst>
              <a:ext uri="{FF2B5EF4-FFF2-40B4-BE49-F238E27FC236}">
                <a16:creationId xmlns:a16="http://schemas.microsoft.com/office/drawing/2014/main" id="{960323C8-D566-994A-8D3E-7CE6C284013D}"/>
              </a:ext>
            </a:extLst>
          </p:cNvPr>
          <p:cNvSpPr txBox="1"/>
          <p:nvPr/>
        </p:nvSpPr>
        <p:spPr>
          <a:xfrm>
            <a:off x="4792461" y="5715176"/>
            <a:ext cx="357565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>
                <a:solidFill>
                  <a:srgbClr val="535353"/>
                </a:solidFill>
              </a:defRPr>
            </a:pPr>
            <a:r>
              <a:rPr sz="1000" dirty="0"/>
              <a:t>Excel, XLS, CSV,  XML, JSON, HTML, Zip, Text (and others) </a:t>
            </a:r>
          </a:p>
        </p:txBody>
      </p:sp>
      <p:sp>
        <p:nvSpPr>
          <p:cNvPr id="159" name="databases:">
            <a:extLst>
              <a:ext uri="{FF2B5EF4-FFF2-40B4-BE49-F238E27FC236}">
                <a16:creationId xmlns:a16="http://schemas.microsoft.com/office/drawing/2014/main" id="{2EE63A4A-043A-E140-A6A3-53F4435D6AE1}"/>
              </a:ext>
            </a:extLst>
          </p:cNvPr>
          <p:cNvSpPr txBox="1"/>
          <p:nvPr/>
        </p:nvSpPr>
        <p:spPr>
          <a:xfrm>
            <a:off x="4047714" y="5914993"/>
            <a:ext cx="715899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databases</a:t>
            </a:r>
          </a:p>
        </p:txBody>
      </p:sp>
      <p:sp>
        <p:nvSpPr>
          <p:cNvPr id="160" name="web data:">
            <a:extLst>
              <a:ext uri="{FF2B5EF4-FFF2-40B4-BE49-F238E27FC236}">
                <a16:creationId xmlns:a16="http://schemas.microsoft.com/office/drawing/2014/main" id="{629B5358-4FEB-7F40-8441-EF476F47EA61}"/>
              </a:ext>
            </a:extLst>
          </p:cNvPr>
          <p:cNvSpPr txBox="1"/>
          <p:nvPr/>
        </p:nvSpPr>
        <p:spPr>
          <a:xfrm>
            <a:off x="4124659" y="6130993"/>
            <a:ext cx="63895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web data</a:t>
            </a:r>
            <a:endParaRPr lang="en-US" sz="1000" dirty="0"/>
          </a:p>
        </p:txBody>
      </p:sp>
      <p:sp>
        <p:nvSpPr>
          <p:cNvPr id="161" name="other data:">
            <a:extLst>
              <a:ext uri="{FF2B5EF4-FFF2-40B4-BE49-F238E27FC236}">
                <a16:creationId xmlns:a16="http://schemas.microsoft.com/office/drawing/2014/main" id="{196F8AE7-9BA5-BF4D-A0DD-0F1EF6857AEC}"/>
              </a:ext>
            </a:extLst>
          </p:cNvPr>
          <p:cNvSpPr txBox="1"/>
          <p:nvPr/>
        </p:nvSpPr>
        <p:spPr>
          <a:xfrm>
            <a:off x="4052523" y="6316772"/>
            <a:ext cx="71109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>
            <a:spAutoFit/>
          </a:bodyPr>
          <a:lstStyle>
            <a:lvl1pPr algn="r">
              <a:defRPr sz="12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rPr sz="1000" dirty="0"/>
              <a:t>other data</a:t>
            </a:r>
          </a:p>
        </p:txBody>
      </p:sp>
      <p:sp>
        <p:nvSpPr>
          <p:cNvPr id="162" name="Line">
            <a:extLst>
              <a:ext uri="{FF2B5EF4-FFF2-40B4-BE49-F238E27FC236}">
                <a16:creationId xmlns:a16="http://schemas.microsoft.com/office/drawing/2014/main" id="{1685F5DC-190A-B94E-9A2D-3E45DCFACC90}"/>
              </a:ext>
            </a:extLst>
          </p:cNvPr>
          <p:cNvSpPr/>
          <p:nvPr/>
        </p:nvSpPr>
        <p:spPr>
          <a:xfrm>
            <a:off x="1819104" y="5665238"/>
            <a:ext cx="7444896" cy="1"/>
          </a:xfrm>
          <a:prstGeom prst="line">
            <a:avLst/>
          </a:prstGeom>
          <a:ln w="12700">
            <a:solidFill>
              <a:srgbClr val="A7A7A7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63" name="TextBox 36">
            <a:extLst>
              <a:ext uri="{FF2B5EF4-FFF2-40B4-BE49-F238E27FC236}">
                <a16:creationId xmlns:a16="http://schemas.microsoft.com/office/drawing/2014/main" id="{0AF224D4-8E8E-1841-BF1D-6FDB72837934}"/>
              </a:ext>
            </a:extLst>
          </p:cNvPr>
          <p:cNvSpPr txBox="1"/>
          <p:nvPr/>
        </p:nvSpPr>
        <p:spPr>
          <a:xfrm>
            <a:off x="2024757" y="6037551"/>
            <a:ext cx="1640345" cy="3133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data sources</a:t>
            </a:r>
          </a:p>
        </p:txBody>
      </p:sp>
      <p:sp>
        <p:nvSpPr>
          <p:cNvPr id="164" name="Triangle">
            <a:extLst>
              <a:ext uri="{FF2B5EF4-FFF2-40B4-BE49-F238E27FC236}">
                <a16:creationId xmlns:a16="http://schemas.microsoft.com/office/drawing/2014/main" id="{B68E9693-BDD0-8A49-AC67-4ADCD8EEA542}"/>
              </a:ext>
            </a:extLst>
          </p:cNvPr>
          <p:cNvSpPr/>
          <p:nvPr/>
        </p:nvSpPr>
        <p:spPr>
          <a:xfrm rot="5400000">
            <a:off x="5234941" y="2997931"/>
            <a:ext cx="710111" cy="7393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36000" tIns="36000" rIns="36000" bIns="36000" anchor="ctr"/>
          <a:lstStyle/>
          <a:p>
            <a:endParaRPr/>
          </a:p>
        </p:txBody>
      </p:sp>
      <p:grpSp>
        <p:nvGrpSpPr>
          <p:cNvPr id="165" name="Group">
            <a:extLst>
              <a:ext uri="{FF2B5EF4-FFF2-40B4-BE49-F238E27FC236}">
                <a16:creationId xmlns:a16="http://schemas.microsoft.com/office/drawing/2014/main" id="{17029C2B-59F7-EC4C-B73E-8FC7D31DC6E1}"/>
              </a:ext>
            </a:extLst>
          </p:cNvPr>
          <p:cNvGrpSpPr/>
          <p:nvPr/>
        </p:nvGrpSpPr>
        <p:grpSpPr>
          <a:xfrm>
            <a:off x="8099716" y="2853129"/>
            <a:ext cx="667889" cy="788699"/>
            <a:chOff x="0" y="0"/>
            <a:chExt cx="667887" cy="788698"/>
          </a:xfrm>
        </p:grpSpPr>
        <p:sp>
          <p:nvSpPr>
            <p:cNvPr id="166" name="Rectangle">
              <a:extLst>
                <a:ext uri="{FF2B5EF4-FFF2-40B4-BE49-F238E27FC236}">
                  <a16:creationId xmlns:a16="http://schemas.microsoft.com/office/drawing/2014/main" id="{89C5C84C-27DC-344B-9DBC-4BB0A7BEBB0B}"/>
                </a:ext>
              </a:extLst>
            </p:cNvPr>
            <p:cNvSpPr/>
            <p:nvPr/>
          </p:nvSpPr>
          <p:spPr>
            <a:xfrm>
              <a:off x="5014" y="0"/>
              <a:ext cx="662874" cy="76891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>
                  <a:satOff val="-3054"/>
                  <a:lumOff val="-11647"/>
                </a:schemeClr>
              </a:solidFill>
              <a:prstDash val="solid"/>
              <a:round/>
            </a:ln>
            <a:effectLst>
              <a:outerShdw blurRad="38100" dist="58100" dir="6673739" rotWithShape="0">
                <a:srgbClr val="000000">
                  <a:alpha val="38000"/>
                </a:srgbClr>
              </a:outerShdw>
            </a:effectLst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7" name="Bar Chart">
              <a:extLst>
                <a:ext uri="{FF2B5EF4-FFF2-40B4-BE49-F238E27FC236}">
                  <a16:creationId xmlns:a16="http://schemas.microsoft.com/office/drawing/2014/main" id="{7B41146E-0B63-8749-B41B-5A4EA488A403}"/>
                </a:ext>
              </a:extLst>
            </p:cNvPr>
            <p:cNvSpPr/>
            <p:nvPr/>
          </p:nvSpPr>
          <p:spPr>
            <a:xfrm>
              <a:off x="54718" y="27068"/>
              <a:ext cx="262121" cy="261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6860" y="3004"/>
                  </a:moveTo>
                  <a:lnTo>
                    <a:pt x="16860" y="19065"/>
                  </a:lnTo>
                  <a:lnTo>
                    <a:pt x="19553" y="19065"/>
                  </a:lnTo>
                  <a:lnTo>
                    <a:pt x="19553" y="3004"/>
                  </a:lnTo>
                  <a:lnTo>
                    <a:pt x="16860" y="3004"/>
                  </a:lnTo>
                  <a:close/>
                  <a:moveTo>
                    <a:pt x="7272" y="6922"/>
                  </a:moveTo>
                  <a:lnTo>
                    <a:pt x="7272" y="19065"/>
                  </a:lnTo>
                  <a:lnTo>
                    <a:pt x="9965" y="19065"/>
                  </a:lnTo>
                  <a:lnTo>
                    <a:pt x="9965" y="6922"/>
                  </a:lnTo>
                  <a:lnTo>
                    <a:pt x="7272" y="6922"/>
                  </a:lnTo>
                  <a:close/>
                  <a:moveTo>
                    <a:pt x="12066" y="10127"/>
                  </a:moveTo>
                  <a:lnTo>
                    <a:pt x="12066" y="19065"/>
                  </a:lnTo>
                  <a:lnTo>
                    <a:pt x="14759" y="19065"/>
                  </a:lnTo>
                  <a:lnTo>
                    <a:pt x="14759" y="10127"/>
                  </a:lnTo>
                  <a:lnTo>
                    <a:pt x="12066" y="10127"/>
                  </a:lnTo>
                  <a:close/>
                  <a:moveTo>
                    <a:pt x="2478" y="15151"/>
                  </a:moveTo>
                  <a:lnTo>
                    <a:pt x="2478" y="19065"/>
                  </a:lnTo>
                  <a:lnTo>
                    <a:pt x="5171" y="19065"/>
                  </a:lnTo>
                  <a:lnTo>
                    <a:pt x="5171" y="15151"/>
                  </a:lnTo>
                  <a:lnTo>
                    <a:pt x="2478" y="1515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sp>
          <p:nvSpPr>
            <p:cNvPr id="168" name="Line Graph">
              <a:extLst>
                <a:ext uri="{FF2B5EF4-FFF2-40B4-BE49-F238E27FC236}">
                  <a16:creationId xmlns:a16="http://schemas.microsoft.com/office/drawing/2014/main" id="{6DCC9439-7F3F-1A47-B2F7-B487D5FA7A00}"/>
                </a:ext>
              </a:extLst>
            </p:cNvPr>
            <p:cNvSpPr/>
            <p:nvPr/>
          </p:nvSpPr>
          <p:spPr>
            <a:xfrm>
              <a:off x="371702" y="53647"/>
              <a:ext cx="208820" cy="208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" y="0"/>
                  </a:moveTo>
                  <a:cubicBezTo>
                    <a:pt x="87" y="0"/>
                    <a:pt x="0" y="87"/>
                    <a:pt x="0" y="194"/>
                  </a:cubicBezTo>
                  <a:lnTo>
                    <a:pt x="0" y="21404"/>
                  </a:lnTo>
                  <a:cubicBezTo>
                    <a:pt x="0" y="21511"/>
                    <a:pt x="87" y="21600"/>
                    <a:pt x="194" y="21600"/>
                  </a:cubicBezTo>
                  <a:lnTo>
                    <a:pt x="21406" y="21600"/>
                  </a:lnTo>
                  <a:cubicBezTo>
                    <a:pt x="21513" y="21600"/>
                    <a:pt x="21600" y="21511"/>
                    <a:pt x="21600" y="21404"/>
                  </a:cubicBezTo>
                  <a:lnTo>
                    <a:pt x="21600" y="20822"/>
                  </a:lnTo>
                  <a:cubicBezTo>
                    <a:pt x="21600" y="20715"/>
                    <a:pt x="21513" y="20628"/>
                    <a:pt x="21406" y="20628"/>
                  </a:cubicBezTo>
                  <a:lnTo>
                    <a:pt x="1163" y="20628"/>
                  </a:lnTo>
                  <a:cubicBezTo>
                    <a:pt x="1057" y="20628"/>
                    <a:pt x="970" y="20539"/>
                    <a:pt x="970" y="20432"/>
                  </a:cubicBezTo>
                  <a:lnTo>
                    <a:pt x="970" y="194"/>
                  </a:lnTo>
                  <a:cubicBezTo>
                    <a:pt x="970" y="87"/>
                    <a:pt x="883" y="0"/>
                    <a:pt x="776" y="0"/>
                  </a:cubicBezTo>
                  <a:lnTo>
                    <a:pt x="194" y="0"/>
                  </a:lnTo>
                  <a:close/>
                  <a:moveTo>
                    <a:pt x="19991" y="7364"/>
                  </a:moveTo>
                  <a:lnTo>
                    <a:pt x="17165" y="8228"/>
                  </a:lnTo>
                  <a:lnTo>
                    <a:pt x="17811" y="8832"/>
                  </a:lnTo>
                  <a:lnTo>
                    <a:pt x="13288" y="13689"/>
                  </a:lnTo>
                  <a:lnTo>
                    <a:pt x="10021" y="10341"/>
                  </a:lnTo>
                  <a:lnTo>
                    <a:pt x="2932" y="17951"/>
                  </a:lnTo>
                  <a:lnTo>
                    <a:pt x="3799" y="18763"/>
                  </a:lnTo>
                  <a:lnTo>
                    <a:pt x="10041" y="12061"/>
                  </a:lnTo>
                  <a:lnTo>
                    <a:pt x="13327" y="15430"/>
                  </a:lnTo>
                  <a:lnTo>
                    <a:pt x="13766" y="14916"/>
                  </a:lnTo>
                  <a:lnTo>
                    <a:pt x="18678" y="9644"/>
                  </a:lnTo>
                  <a:lnTo>
                    <a:pt x="19324" y="10250"/>
                  </a:lnTo>
                  <a:lnTo>
                    <a:pt x="19991" y="736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/>
            </a:p>
          </p:txBody>
        </p:sp>
        <p:grpSp>
          <p:nvGrpSpPr>
            <p:cNvPr id="169" name="Group">
              <a:extLst>
                <a:ext uri="{FF2B5EF4-FFF2-40B4-BE49-F238E27FC236}">
                  <a16:creationId xmlns:a16="http://schemas.microsoft.com/office/drawing/2014/main" id="{FEDF2233-1597-EE43-86E1-7659CC14664E}"/>
                </a:ext>
              </a:extLst>
            </p:cNvPr>
            <p:cNvGrpSpPr/>
            <p:nvPr/>
          </p:nvGrpSpPr>
          <p:grpSpPr>
            <a:xfrm>
              <a:off x="50957" y="322563"/>
              <a:ext cx="570988" cy="466136"/>
              <a:chOff x="0" y="0"/>
              <a:chExt cx="570986" cy="466134"/>
            </a:xfrm>
          </p:grpSpPr>
          <p:sp>
            <p:nvSpPr>
              <p:cNvPr id="184" name="Line">
                <a:extLst>
                  <a:ext uri="{FF2B5EF4-FFF2-40B4-BE49-F238E27FC236}">
                    <a16:creationId xmlns:a16="http://schemas.microsoft.com/office/drawing/2014/main" id="{476962E7-74A5-3A44-AF89-44FB3EF90109}"/>
                  </a:ext>
                </a:extLst>
              </p:cNvPr>
              <p:cNvSpPr/>
              <p:nvPr/>
            </p:nvSpPr>
            <p:spPr>
              <a:xfrm flipV="1">
                <a:off x="-1" y="-1"/>
                <a:ext cx="2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5" name="Line">
                <a:extLst>
                  <a:ext uri="{FF2B5EF4-FFF2-40B4-BE49-F238E27FC236}">
                    <a16:creationId xmlns:a16="http://schemas.microsoft.com/office/drawing/2014/main" id="{5BEA8C42-F5BC-F24B-B26C-2C27CD866AA7}"/>
                  </a:ext>
                </a:extLst>
              </p:cNvPr>
              <p:cNvSpPr/>
              <p:nvPr/>
            </p:nvSpPr>
            <p:spPr>
              <a:xfrm flipV="1">
                <a:off x="95164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6" name="Line">
                <a:extLst>
                  <a:ext uri="{FF2B5EF4-FFF2-40B4-BE49-F238E27FC236}">
                    <a16:creationId xmlns:a16="http://schemas.microsoft.com/office/drawing/2014/main" id="{34E8DFD3-2494-E243-BB89-D76364C6AA4E}"/>
                  </a:ext>
                </a:extLst>
              </p:cNvPr>
              <p:cNvSpPr/>
              <p:nvPr/>
            </p:nvSpPr>
            <p:spPr>
              <a:xfrm flipV="1">
                <a:off x="570986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7" name="Line">
                <a:extLst>
                  <a:ext uri="{FF2B5EF4-FFF2-40B4-BE49-F238E27FC236}">
                    <a16:creationId xmlns:a16="http://schemas.microsoft.com/office/drawing/2014/main" id="{55347890-8108-F145-B0C9-D7E8E3E1FBAA}"/>
                  </a:ext>
                </a:extLst>
              </p:cNvPr>
              <p:cNvSpPr/>
              <p:nvPr/>
            </p:nvSpPr>
            <p:spPr>
              <a:xfrm flipV="1">
                <a:off x="285493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8" name="Line">
                <a:extLst>
                  <a:ext uri="{FF2B5EF4-FFF2-40B4-BE49-F238E27FC236}">
                    <a16:creationId xmlns:a16="http://schemas.microsoft.com/office/drawing/2014/main" id="{4F4C9DEA-C75C-AB45-957C-50F710004C50}"/>
                  </a:ext>
                </a:extLst>
              </p:cNvPr>
              <p:cNvSpPr/>
              <p:nvPr/>
            </p:nvSpPr>
            <p:spPr>
              <a:xfrm flipV="1">
                <a:off x="380657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9" name="Line">
                <a:extLst>
                  <a:ext uri="{FF2B5EF4-FFF2-40B4-BE49-F238E27FC236}">
                    <a16:creationId xmlns:a16="http://schemas.microsoft.com/office/drawing/2014/main" id="{5E375D88-7672-944E-AD77-F8FAD1970578}"/>
                  </a:ext>
                </a:extLst>
              </p:cNvPr>
              <p:cNvSpPr/>
              <p:nvPr/>
            </p:nvSpPr>
            <p:spPr>
              <a:xfrm flipV="1">
                <a:off x="190328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90" name="Line">
                <a:extLst>
                  <a:ext uri="{FF2B5EF4-FFF2-40B4-BE49-F238E27FC236}">
                    <a16:creationId xmlns:a16="http://schemas.microsoft.com/office/drawing/2014/main" id="{06DAA210-745A-374A-B69F-61DB2A1B9181}"/>
                  </a:ext>
                </a:extLst>
              </p:cNvPr>
              <p:cNvSpPr/>
              <p:nvPr/>
            </p:nvSpPr>
            <p:spPr>
              <a:xfrm flipV="1">
                <a:off x="475822" y="-1"/>
                <a:ext cx="1" cy="466136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  <p:grpSp>
          <p:nvGrpSpPr>
            <p:cNvPr id="170" name="Group">
              <a:extLst>
                <a:ext uri="{FF2B5EF4-FFF2-40B4-BE49-F238E27FC236}">
                  <a16:creationId xmlns:a16="http://schemas.microsoft.com/office/drawing/2014/main" id="{990487DF-E1C7-8E49-94B1-FCC6553BCDDF}"/>
                </a:ext>
              </a:extLst>
            </p:cNvPr>
            <p:cNvGrpSpPr/>
            <p:nvPr/>
          </p:nvGrpSpPr>
          <p:grpSpPr>
            <a:xfrm>
              <a:off x="-1" y="322563"/>
              <a:ext cx="665607" cy="466136"/>
              <a:chOff x="0" y="0"/>
              <a:chExt cx="665605" cy="466134"/>
            </a:xfrm>
          </p:grpSpPr>
          <p:sp>
            <p:nvSpPr>
              <p:cNvPr id="171" name="Line">
                <a:extLst>
                  <a:ext uri="{FF2B5EF4-FFF2-40B4-BE49-F238E27FC236}">
                    <a16:creationId xmlns:a16="http://schemas.microsoft.com/office/drawing/2014/main" id="{E9BFFF1A-8B5E-D84D-86BB-3EF575F53002}"/>
                  </a:ext>
                </a:extLst>
              </p:cNvPr>
              <p:cNvSpPr/>
              <p:nvPr/>
            </p:nvSpPr>
            <p:spPr>
              <a:xfrm>
                <a:off x="3617" y="3884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2" name="Line">
                <a:extLst>
                  <a:ext uri="{FF2B5EF4-FFF2-40B4-BE49-F238E27FC236}">
                    <a16:creationId xmlns:a16="http://schemas.microsoft.com/office/drawing/2014/main" id="{C717B197-6B99-FF4B-8017-3D0C756D5918}"/>
                  </a:ext>
                </a:extLst>
              </p:cNvPr>
              <p:cNvSpPr/>
              <p:nvPr/>
            </p:nvSpPr>
            <p:spPr>
              <a:xfrm>
                <a:off x="0" y="310756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3" name="Line">
                <a:extLst>
                  <a:ext uri="{FF2B5EF4-FFF2-40B4-BE49-F238E27FC236}">
                    <a16:creationId xmlns:a16="http://schemas.microsoft.com/office/drawing/2014/main" id="{6634D96E-967E-8F4E-AB1C-9C87FC84BDBA}"/>
                  </a:ext>
                </a:extLst>
              </p:cNvPr>
              <p:cNvSpPr/>
              <p:nvPr/>
            </p:nvSpPr>
            <p:spPr>
              <a:xfrm>
                <a:off x="0" y="42729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4" name="Line">
                <a:extLst>
                  <a:ext uri="{FF2B5EF4-FFF2-40B4-BE49-F238E27FC236}">
                    <a16:creationId xmlns:a16="http://schemas.microsoft.com/office/drawing/2014/main" id="{07D92386-A564-9743-B693-9D612A88697A}"/>
                  </a:ext>
                </a:extLst>
              </p:cNvPr>
              <p:cNvSpPr/>
              <p:nvPr/>
            </p:nvSpPr>
            <p:spPr>
              <a:xfrm>
                <a:off x="0" y="0"/>
                <a:ext cx="660180" cy="0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5" name="Line">
                <a:extLst>
                  <a:ext uri="{FF2B5EF4-FFF2-40B4-BE49-F238E27FC236}">
                    <a16:creationId xmlns:a16="http://schemas.microsoft.com/office/drawing/2014/main" id="{3CD72882-3AE1-B846-ACB2-0650333B2B00}"/>
                  </a:ext>
                </a:extLst>
              </p:cNvPr>
              <p:cNvSpPr/>
              <p:nvPr/>
            </p:nvSpPr>
            <p:spPr>
              <a:xfrm>
                <a:off x="0" y="77689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6" name="Line">
                <a:extLst>
                  <a:ext uri="{FF2B5EF4-FFF2-40B4-BE49-F238E27FC236}">
                    <a16:creationId xmlns:a16="http://schemas.microsoft.com/office/drawing/2014/main" id="{1444FB43-A3F5-EF4B-BA8C-9FC244321CBF}"/>
                  </a:ext>
                </a:extLst>
              </p:cNvPr>
              <p:cNvSpPr/>
              <p:nvPr/>
            </p:nvSpPr>
            <p:spPr>
              <a:xfrm>
                <a:off x="0" y="466134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7" name="Line">
                <a:extLst>
                  <a:ext uri="{FF2B5EF4-FFF2-40B4-BE49-F238E27FC236}">
                    <a16:creationId xmlns:a16="http://schemas.microsoft.com/office/drawing/2014/main" id="{05996C5B-9447-AE49-8C04-A0C45EFEF3AB}"/>
                  </a:ext>
                </a:extLst>
              </p:cNvPr>
              <p:cNvSpPr/>
              <p:nvPr/>
            </p:nvSpPr>
            <p:spPr>
              <a:xfrm>
                <a:off x="0" y="194222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8" name="Line">
                <a:extLst>
                  <a:ext uri="{FF2B5EF4-FFF2-40B4-BE49-F238E27FC236}">
                    <a16:creationId xmlns:a16="http://schemas.microsoft.com/office/drawing/2014/main" id="{23E7E106-8596-904B-A41E-749913651392}"/>
                  </a:ext>
                </a:extLst>
              </p:cNvPr>
              <p:cNvSpPr/>
              <p:nvPr/>
            </p:nvSpPr>
            <p:spPr>
              <a:xfrm>
                <a:off x="3617" y="116533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79" name="Line">
                <a:extLst>
                  <a:ext uri="{FF2B5EF4-FFF2-40B4-BE49-F238E27FC236}">
                    <a16:creationId xmlns:a16="http://schemas.microsoft.com/office/drawing/2014/main" id="{9CBADF20-FADA-A548-96C1-199FED8FA641}"/>
                  </a:ext>
                </a:extLst>
              </p:cNvPr>
              <p:cNvSpPr/>
              <p:nvPr/>
            </p:nvSpPr>
            <p:spPr>
              <a:xfrm>
                <a:off x="3617" y="388445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0" name="Line">
                <a:extLst>
                  <a:ext uri="{FF2B5EF4-FFF2-40B4-BE49-F238E27FC236}">
                    <a16:creationId xmlns:a16="http://schemas.microsoft.com/office/drawing/2014/main" id="{4279CA8B-3DDD-2144-A78E-35253F3250C0}"/>
                  </a:ext>
                </a:extLst>
              </p:cNvPr>
              <p:cNvSpPr/>
              <p:nvPr/>
            </p:nvSpPr>
            <p:spPr>
              <a:xfrm>
                <a:off x="3617" y="233067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1" name="Line">
                <a:extLst>
                  <a:ext uri="{FF2B5EF4-FFF2-40B4-BE49-F238E27FC236}">
                    <a16:creationId xmlns:a16="http://schemas.microsoft.com/office/drawing/2014/main" id="{7F1F7600-6835-634F-A47F-5A8FEB01097B}"/>
                  </a:ext>
                </a:extLst>
              </p:cNvPr>
              <p:cNvSpPr/>
              <p:nvPr/>
            </p:nvSpPr>
            <p:spPr>
              <a:xfrm>
                <a:off x="1808" y="271911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2" name="Line">
                <a:extLst>
                  <a:ext uri="{FF2B5EF4-FFF2-40B4-BE49-F238E27FC236}">
                    <a16:creationId xmlns:a16="http://schemas.microsoft.com/office/drawing/2014/main" id="{3B94D1FD-F36F-1944-A68B-CCFF16F7A7C5}"/>
                  </a:ext>
                </a:extLst>
              </p:cNvPr>
              <p:cNvSpPr/>
              <p:nvPr/>
            </p:nvSpPr>
            <p:spPr>
              <a:xfrm>
                <a:off x="1808" y="349600"/>
                <a:ext cx="660180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  <p:sp>
            <p:nvSpPr>
              <p:cNvPr id="183" name="Line">
                <a:extLst>
                  <a:ext uri="{FF2B5EF4-FFF2-40B4-BE49-F238E27FC236}">
                    <a16:creationId xmlns:a16="http://schemas.microsoft.com/office/drawing/2014/main" id="{ABEE9FF2-4C8D-5D40-AE5D-28A648A20228}"/>
                  </a:ext>
                </a:extLst>
              </p:cNvPr>
              <p:cNvSpPr/>
              <p:nvPr/>
            </p:nvSpPr>
            <p:spPr>
              <a:xfrm>
                <a:off x="5425" y="155378"/>
                <a:ext cx="660181" cy="1"/>
              </a:xfrm>
              <a:prstGeom prst="line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round/>
              </a:ln>
              <a:effectLst>
                <a:outerShdw blurRad="381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/>
              </a:p>
            </p:txBody>
          </p:sp>
        </p:grpSp>
      </p:grpSp>
      <p:sp>
        <p:nvSpPr>
          <p:cNvPr id="191" name="TextBox 37">
            <a:extLst>
              <a:ext uri="{FF2B5EF4-FFF2-40B4-BE49-F238E27FC236}">
                <a16:creationId xmlns:a16="http://schemas.microsoft.com/office/drawing/2014/main" id="{FF4A0676-2FE3-D040-9852-D4F294B5E227}"/>
              </a:ext>
            </a:extLst>
          </p:cNvPr>
          <p:cNvSpPr txBox="1"/>
          <p:nvPr/>
        </p:nvSpPr>
        <p:spPr>
          <a:xfrm>
            <a:off x="1722251" y="2897840"/>
            <a:ext cx="1217976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>
            <a:lvl1pPr algn="r">
              <a:defRPr sz="1200" i="1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r>
              <a:t>spreadsheets</a:t>
            </a:r>
          </a:p>
        </p:txBody>
      </p:sp>
      <p:pic>
        <p:nvPicPr>
          <p:cNvPr id="192" name="excel2.png" descr="excel2.png">
            <a:extLst>
              <a:ext uri="{FF2B5EF4-FFF2-40B4-BE49-F238E27FC236}">
                <a16:creationId xmlns:a16="http://schemas.microsoft.com/office/drawing/2014/main" id="{8E47EEA0-0A91-D64B-AC96-84590B72AF3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4113"/>
          </a:blip>
          <a:stretch>
            <a:fillRect/>
          </a:stretch>
        </p:blipFill>
        <p:spPr>
          <a:xfrm>
            <a:off x="7327903" y="3057968"/>
            <a:ext cx="442056" cy="44205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8373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Example: Low-code Solution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7 additional statements to add style to the Excel fi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480000" y="1269000"/>
            <a:ext cx="2205363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3432000" y="1269000"/>
            <a:ext cx="8280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ighly comprehensible function nam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480000" y="1989000"/>
            <a:ext cx="2232000" cy="79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and target </a:t>
            </a:r>
            <a:r>
              <a:rPr lang="en-US" sz="1200" b="1" dirty="0" err="1">
                <a:solidFill>
                  <a:schemeClr val="tx1"/>
                </a:solidFill>
              </a:rPr>
              <a:t>inde</a:t>
            </a:r>
            <a:r>
              <a:rPr lang="en-US" sz="1200" b="1" dirty="0">
                <a:solidFill>
                  <a:schemeClr val="tx1"/>
                </a:solidFill>
              </a:rPr>
              <a:t>-pendent approach to format </a:t>
            </a:r>
            <a:r>
              <a:rPr lang="en-US" sz="1200" dirty="0">
                <a:solidFill>
                  <a:schemeClr val="tx1"/>
                </a:solidFill>
              </a:rPr>
              <a:t>tables, rows, columns and cel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ll Excel suppor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FF1CD15-4522-4F54-88F7-4A09930D757F}"/>
              </a:ext>
            </a:extLst>
          </p:cNvPr>
          <p:cNvSpPr txBox="1"/>
          <p:nvPr/>
        </p:nvSpPr>
        <p:spPr>
          <a:xfrm>
            <a:off x="3432000" y="1989000"/>
            <a:ext cx="828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column width, 20, row height, 20,</a:t>
            </a: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                  freeze rows, 1, </a:t>
            </a:r>
            <a:r>
              <a:rPr lang="en-US" sz="10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	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sheet, boldface, true, fill color, gray 15 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sheet, column width, 30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([Level] = '*Questionable*'),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able style cells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	      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Level, row(), single, text color, red )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10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</a:t>
            </a:r>
            <a:r>
              <a:rPr lang="en-US" sz="10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10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  <a:endParaRPr lang="en-US" sz="10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AE25BAB-18CC-4542-9D46-FD380A8752D5}"/>
              </a:ext>
            </a:extLst>
          </p:cNvPr>
          <p:cNvCxnSpPr>
            <a:cxnSpLocks/>
          </p:cNvCxnSpPr>
          <p:nvPr/>
        </p:nvCxnSpPr>
        <p:spPr>
          <a:xfrm>
            <a:off x="3720000" y="1773000"/>
            <a:ext cx="0" cy="21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A9CF0BB5-B219-4812-8274-C81CAB79168B}"/>
              </a:ext>
            </a:extLst>
          </p:cNvPr>
          <p:cNvCxnSpPr>
            <a:cxnSpLocks/>
          </p:cNvCxnSpPr>
          <p:nvPr/>
        </p:nvCxnSpPr>
        <p:spPr>
          <a:xfrm>
            <a:off x="2712000" y="2421000"/>
            <a:ext cx="72000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21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.S. Presidents from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124736"/>
            <a:ext cx="3853842" cy="316826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4000" y="1485000"/>
            <a:ext cx="5688000" cy="2024637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2CAAC07-0D4C-474C-91D9-CBB8C9AF51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4000" y="3962438"/>
            <a:ext cx="5688000" cy="34676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E031BE2-414B-44CE-B04E-280C30B2969B}"/>
              </a:ext>
            </a:extLst>
          </p:cNvPr>
          <p:cNvSpPr/>
          <p:nvPr/>
        </p:nvSpPr>
        <p:spPr>
          <a:xfrm>
            <a:off x="5999362" y="3717000"/>
            <a:ext cx="3048638" cy="17977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5" name="Group 23">
            <a:extLst>
              <a:ext uri="{FF2B5EF4-FFF2-40B4-BE49-F238E27FC236}">
                <a16:creationId xmlns:a16="http://schemas.microsoft.com/office/drawing/2014/main" id="{1F1AF0A7-EA8D-4942-B0EA-047321BB97E0}"/>
              </a:ext>
            </a:extLst>
          </p:cNvPr>
          <p:cNvGrpSpPr/>
          <p:nvPr/>
        </p:nvGrpSpPr>
        <p:grpSpPr>
          <a:xfrm>
            <a:off x="4152000" y="2349000"/>
            <a:ext cx="1974449" cy="1202399"/>
            <a:chOff x="4625551" y="2005520"/>
            <a:chExt cx="1974449" cy="1202399"/>
          </a:xfrm>
        </p:grpSpPr>
        <p:grpSp>
          <p:nvGrpSpPr>
            <p:cNvPr id="16" name="Gruppieren 8">
              <a:extLst>
                <a:ext uri="{FF2B5EF4-FFF2-40B4-BE49-F238E27FC236}">
                  <a16:creationId xmlns:a16="http://schemas.microsoft.com/office/drawing/2014/main" id="{60A85A6B-8F9A-4742-B7CE-87B520F851E5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3" name="B4P">
                <a:extLst>
                  <a:ext uri="{FF2B5EF4-FFF2-40B4-BE49-F238E27FC236}">
                    <a16:creationId xmlns:a16="http://schemas.microsoft.com/office/drawing/2014/main" id="{BE3B6DB1-4378-427E-873B-7D12B1B40A38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4" name="Triangle">
                <a:extLst>
                  <a:ext uri="{FF2B5EF4-FFF2-40B4-BE49-F238E27FC236}">
                    <a16:creationId xmlns:a16="http://schemas.microsoft.com/office/drawing/2014/main" id="{C4558518-6738-4D7F-8ADC-B44901DA3E91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7" name="Gruppieren 20">
              <a:extLst>
                <a:ext uri="{FF2B5EF4-FFF2-40B4-BE49-F238E27FC236}">
                  <a16:creationId xmlns:a16="http://schemas.microsoft.com/office/drawing/2014/main" id="{D8FA10F9-EC04-4FAA-A485-A4D04862ECB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0" name="Rechteck: abgerundete Ecken 14">
                <a:extLst>
                  <a:ext uri="{FF2B5EF4-FFF2-40B4-BE49-F238E27FC236}">
                    <a16:creationId xmlns:a16="http://schemas.microsoft.com/office/drawing/2014/main" id="{EEBE0EBE-2186-445E-B903-D5C52FE04B1F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B4P">
                <a:extLst>
                  <a:ext uri="{FF2B5EF4-FFF2-40B4-BE49-F238E27FC236}">
                    <a16:creationId xmlns:a16="http://schemas.microsoft.com/office/drawing/2014/main" id="{7CC6FBEC-2667-47B8-9B65-0D84041DB77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2" name="Triangle">
                <a:extLst>
                  <a:ext uri="{FF2B5EF4-FFF2-40B4-BE49-F238E27FC236}">
                    <a16:creationId xmlns:a16="http://schemas.microsoft.com/office/drawing/2014/main" id="{D4182CC0-8043-4AEB-A888-66F49DAF7832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8" name="Right Arrow 26">
              <a:extLst>
                <a:ext uri="{FF2B5EF4-FFF2-40B4-BE49-F238E27FC236}">
                  <a16:creationId xmlns:a16="http://schemas.microsoft.com/office/drawing/2014/main" id="{E7B5A01D-BE18-41D6-9F84-82B1519D069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Right Arrow 27">
              <a:extLst>
                <a:ext uri="{FF2B5EF4-FFF2-40B4-BE49-F238E27FC236}">
                  <a16:creationId xmlns:a16="http://schemas.microsoft.com/office/drawing/2014/main" id="{C4AB0D64-C0AD-49F4-BEAD-7300D9BCC0BD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5" name="Rechteck 13">
            <a:extLst>
              <a:ext uri="{FF2B5EF4-FFF2-40B4-BE49-F238E27FC236}">
                <a16:creationId xmlns:a16="http://schemas.microsoft.com/office/drawing/2014/main" id="{7BB78733-B5D9-4265-A03D-5BAAD2619DCD}"/>
              </a:ext>
            </a:extLst>
          </p:cNvPr>
          <p:cNvSpPr/>
          <p:nvPr/>
        </p:nvSpPr>
        <p:spPr>
          <a:xfrm>
            <a:off x="480000" y="4581000"/>
            <a:ext cx="11232000" cy="16567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ownload the list of Presidents and generate Excel table with one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: </a:t>
            </a:r>
            <a:r>
              <a:rPr lang="de-CH" sz="1400" dirty="0">
                <a:hlinkClick r:id="rId5"/>
              </a:rPr>
              <a:t>https://en.wikipedia.org/wiki/List_of_presidents_of_the_United_States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move redundant artefacts, e.g. cross-referencing symbol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enerate a nice table with </a:t>
            </a:r>
            <a:r>
              <a:rPr lang="en-US" sz="1400" b="1" dirty="0">
                <a:solidFill>
                  <a:schemeClr val="tx1"/>
                </a:solidFill>
              </a:rPr>
              <a:t>parties colored differently</a:t>
            </a:r>
          </a:p>
        </p:txBody>
      </p: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91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6 Statements, 0 Loops and 0 Variables to Straighten up the President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1125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Clean up and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ty color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All U.S. Presidents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26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15213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184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2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198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2565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lign the data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ntents done!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2709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213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fine colors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ffiliated 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357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4509272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lor and Style </a:t>
            </a:r>
            <a:r>
              <a:rPr lang="en-US" sz="12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4653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373328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56613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7940B01B-926F-4285-8366-9D013ED5545B}"/>
              </a:ext>
            </a:extLst>
          </p:cNvPr>
          <p:cNvCxnSpPr/>
          <p:nvPr/>
        </p:nvCxnSpPr>
        <p:spPr>
          <a:xfrm>
            <a:off x="3288000" y="3069272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tock Data (SP 500 and NASDAQ 100) Combined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347" y="1125000"/>
            <a:ext cx="4715559" cy="273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8087" y="1125000"/>
            <a:ext cx="4923917" cy="254750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D7A6C81-D033-4C1E-85E6-C9A42E7E0F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8087" y="3933032"/>
            <a:ext cx="4923913" cy="39289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D6D4DA5-4A7B-4732-9FEF-8879EE64B7B8}"/>
              </a:ext>
            </a:extLst>
          </p:cNvPr>
          <p:cNvSpPr/>
          <p:nvPr/>
        </p:nvSpPr>
        <p:spPr>
          <a:xfrm>
            <a:off x="6860095" y="3573000"/>
            <a:ext cx="2346495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6" name="Group 23">
            <a:extLst>
              <a:ext uri="{FF2B5EF4-FFF2-40B4-BE49-F238E27FC236}">
                <a16:creationId xmlns:a16="http://schemas.microsoft.com/office/drawing/2014/main" id="{A0E94558-0395-497B-8191-BBE7AD8A7036}"/>
              </a:ext>
            </a:extLst>
          </p:cNvPr>
          <p:cNvGrpSpPr/>
          <p:nvPr/>
        </p:nvGrpSpPr>
        <p:grpSpPr>
          <a:xfrm>
            <a:off x="5016000" y="2349000"/>
            <a:ext cx="1974449" cy="1202399"/>
            <a:chOff x="4625551" y="2005520"/>
            <a:chExt cx="1974449" cy="1202399"/>
          </a:xfrm>
        </p:grpSpPr>
        <p:grpSp>
          <p:nvGrpSpPr>
            <p:cNvPr id="17" name="Gruppieren 8">
              <a:extLst>
                <a:ext uri="{FF2B5EF4-FFF2-40B4-BE49-F238E27FC236}">
                  <a16:creationId xmlns:a16="http://schemas.microsoft.com/office/drawing/2014/main" id="{A5255EB2-F610-4EB2-AFD7-BEAC88A8DE9F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4" name="B4P">
                <a:extLst>
                  <a:ext uri="{FF2B5EF4-FFF2-40B4-BE49-F238E27FC236}">
                    <a16:creationId xmlns:a16="http://schemas.microsoft.com/office/drawing/2014/main" id="{1E1246D7-E7A9-4DD4-809E-EDB323AC6A8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5" name="Triangle">
                <a:extLst>
                  <a:ext uri="{FF2B5EF4-FFF2-40B4-BE49-F238E27FC236}">
                    <a16:creationId xmlns:a16="http://schemas.microsoft.com/office/drawing/2014/main" id="{319B85EC-4E71-4A3C-B280-E0822D0875E4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8" name="Gruppieren 20">
              <a:extLst>
                <a:ext uri="{FF2B5EF4-FFF2-40B4-BE49-F238E27FC236}">
                  <a16:creationId xmlns:a16="http://schemas.microsoft.com/office/drawing/2014/main" id="{794BF75D-169A-4979-9582-0A9D184935C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1" name="Rechteck: abgerundete Ecken 14">
                <a:extLst>
                  <a:ext uri="{FF2B5EF4-FFF2-40B4-BE49-F238E27FC236}">
                    <a16:creationId xmlns:a16="http://schemas.microsoft.com/office/drawing/2014/main" id="{60BD8972-3B69-40F4-892A-BDCC59145738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B4P">
                <a:extLst>
                  <a:ext uri="{FF2B5EF4-FFF2-40B4-BE49-F238E27FC236}">
                    <a16:creationId xmlns:a16="http://schemas.microsoft.com/office/drawing/2014/main" id="{9F5C0BBC-EE81-4948-8B69-94DC5BA4536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3" name="Triangle">
                <a:extLst>
                  <a:ext uri="{FF2B5EF4-FFF2-40B4-BE49-F238E27FC236}">
                    <a16:creationId xmlns:a16="http://schemas.microsoft.com/office/drawing/2014/main" id="{008E8340-2D22-46F2-B2F6-C7D82753D807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9" name="Right Arrow 26">
              <a:extLst>
                <a:ext uri="{FF2B5EF4-FFF2-40B4-BE49-F238E27FC236}">
                  <a16:creationId xmlns:a16="http://schemas.microsoft.com/office/drawing/2014/main" id="{BA8A6527-1C76-4ADB-BA1E-E2348F80260F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ight Arrow 27">
              <a:extLst>
                <a:ext uri="{FF2B5EF4-FFF2-40B4-BE49-F238E27FC236}">
                  <a16:creationId xmlns:a16="http://schemas.microsoft.com/office/drawing/2014/main" id="{3ACF9083-0313-49E3-B800-34251582E88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D5D7F97A-5273-4FC0-820C-28E560F34F51}"/>
              </a:ext>
            </a:extLst>
          </p:cNvPr>
          <p:cNvSpPr/>
          <p:nvPr/>
        </p:nvSpPr>
        <p:spPr>
          <a:xfrm>
            <a:off x="480000" y="4725000"/>
            <a:ext cx="11232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mport the SP 500 and NASDAQ 100 listings and merge them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1: </a:t>
            </a:r>
            <a:r>
              <a:rPr lang="de-CH" sz="1400" dirty="0">
                <a:hlinkClick r:id="rId5"/>
              </a:rPr>
              <a:t>https://www.slickcharts.com/nasdaq100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ource2: </a:t>
            </a:r>
            <a:r>
              <a:rPr lang="de-CH" sz="1400" dirty="0">
                <a:hlinkClick r:id="rId6"/>
              </a:rPr>
              <a:t>https://www.slickcharts.com/sp500</a:t>
            </a:r>
            <a:r>
              <a:rPr lang="de-CH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3 Statements, 1 loop and 1 variable do the Job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2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2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56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1680" y="4365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79680" y="4004944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: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8 additional statements for style and color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" + listing[], 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,</a:t>
            </a:r>
            <a:r>
              <a:rPr lang="en-US" sz="800" b="1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 + 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ing[]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	Percent value gets converted to regular number, price value is cleaned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dirty="0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ock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Add some color and formatting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1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43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551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301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ave as Excel Fil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2589F0-252F-4455-A474-BB41D1AC864B}"/>
              </a:ext>
            </a:extLst>
          </p:cNvPr>
          <p:cNvCxnSpPr/>
          <p:nvPr/>
        </p:nvCxnSpPr>
        <p:spPr>
          <a:xfrm>
            <a:off x="3288000" y="40770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845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M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 err="1">
                <a:solidFill>
                  <a:srgbClr val="2850A0"/>
                </a:solidFill>
              </a:rPr>
              <a:t>B4P</a:t>
            </a:r>
            <a:r>
              <a:rPr lang="en-AE" dirty="0">
                <a:solidFill>
                  <a:srgbClr val="2850A0"/>
                </a:solidFill>
              </a:rPr>
              <a:t>: Beyond Former Performance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Table of Content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10166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263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dirty="0" err="1">
                <a:hlinkClick r:id="rId2"/>
              </a:rPr>
              <a:t>www.b4p.app</a:t>
            </a:r>
            <a:r>
              <a:rPr lang="en-US" dirty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sing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07435" y="6164615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02FF7FE-1E71-4643-BD24-E3D93C1C4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4000" y="2133000"/>
            <a:ext cx="7992000" cy="3240000"/>
          </a:xfrm>
        </p:spPr>
        <p:txBody>
          <a:bodyPr/>
          <a:lstStyle/>
          <a:p>
            <a:pPr algn="ctr"/>
            <a:r>
              <a:rPr lang="en-US" sz="6000" dirty="0"/>
              <a:t>ARCHIVE</a:t>
            </a:r>
          </a:p>
        </p:txBody>
      </p:sp>
    </p:spTree>
    <p:extLst>
      <p:ext uri="{BB962C8B-B14F-4D97-AF65-F5344CB8AC3E}">
        <p14:creationId xmlns:p14="http://schemas.microsoft.com/office/powerpoint/2010/main" val="16077881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feil: Fünfeck 64">
            <a:extLst>
              <a:ext uri="{FF2B5EF4-FFF2-40B4-BE49-F238E27FC236}">
                <a16:creationId xmlns:a16="http://schemas.microsoft.com/office/drawing/2014/main" id="{7677690F-2825-438D-99CD-CE271A13779E}"/>
              </a:ext>
            </a:extLst>
          </p:cNvPr>
          <p:cNvSpPr/>
          <p:nvPr/>
        </p:nvSpPr>
        <p:spPr>
          <a:xfrm flipH="1">
            <a:off x="6672000" y="1917000"/>
            <a:ext cx="3744000" cy="2304000"/>
          </a:xfrm>
          <a:prstGeom prst="homePlate">
            <a:avLst>
              <a:gd name="adj" fmla="val 68441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" name="Pfeil: Fünfeck 3">
            <a:extLst>
              <a:ext uri="{FF2B5EF4-FFF2-40B4-BE49-F238E27FC236}">
                <a16:creationId xmlns:a16="http://schemas.microsoft.com/office/drawing/2014/main" id="{1FFD1BFE-0814-4E73-A3C8-9076B49F2A2F}"/>
              </a:ext>
            </a:extLst>
          </p:cNvPr>
          <p:cNvSpPr/>
          <p:nvPr/>
        </p:nvSpPr>
        <p:spPr>
          <a:xfrm>
            <a:off x="1632000" y="1917000"/>
            <a:ext cx="3744000" cy="2304000"/>
          </a:xfrm>
          <a:prstGeom prst="homePlate">
            <a:avLst>
              <a:gd name="adj" fmla="val 68441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he Analytics and Execution Engine: Overview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906F6C29-0A12-4C9A-8BC5-EB698990401B}"/>
              </a:ext>
            </a:extLst>
          </p:cNvPr>
          <p:cNvSpPr/>
          <p:nvPr/>
        </p:nvSpPr>
        <p:spPr>
          <a:xfrm>
            <a:off x="4315514" y="2358067"/>
            <a:ext cx="3368857" cy="1385649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8" name="TextBox 36">
            <a:extLst>
              <a:ext uri="{FF2B5EF4-FFF2-40B4-BE49-F238E27FC236}">
                <a16:creationId xmlns:a16="http://schemas.microsoft.com/office/drawing/2014/main" id="{236871DE-BD9F-416F-AC34-18EAAD0011DB}"/>
              </a:ext>
            </a:extLst>
          </p:cNvPr>
          <p:cNvSpPr txBox="1"/>
          <p:nvPr/>
        </p:nvSpPr>
        <p:spPr>
          <a:xfrm>
            <a:off x="1992000" y="2905683"/>
            <a:ext cx="924383" cy="3073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</a:t>
            </a:r>
          </a:p>
        </p:txBody>
      </p:sp>
      <p:sp>
        <p:nvSpPr>
          <p:cNvPr id="19" name="TextBox 37">
            <a:extLst>
              <a:ext uri="{FF2B5EF4-FFF2-40B4-BE49-F238E27FC236}">
                <a16:creationId xmlns:a16="http://schemas.microsoft.com/office/drawing/2014/main" id="{C821B4F5-B605-4C38-A547-BB1B49E6255C}"/>
              </a:ext>
            </a:extLst>
          </p:cNvPr>
          <p:cNvSpPr txBox="1"/>
          <p:nvPr/>
        </p:nvSpPr>
        <p:spPr>
          <a:xfrm>
            <a:off x="1992000" y="2197149"/>
            <a:ext cx="84341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files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3DAAB80C-55BC-4CF3-A2CA-CDBAC3F1F009}"/>
              </a:ext>
            </a:extLst>
          </p:cNvPr>
          <p:cNvSpPr txBox="1"/>
          <p:nvPr/>
        </p:nvSpPr>
        <p:spPr>
          <a:xfrm>
            <a:off x="1992000" y="3633842"/>
            <a:ext cx="858427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Web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EDB3E8C4-A338-47F1-92E8-57F27776069C}"/>
              </a:ext>
            </a:extLst>
          </p:cNvPr>
          <p:cNvSpPr txBox="1"/>
          <p:nvPr/>
        </p:nvSpPr>
        <p:spPr>
          <a:xfrm>
            <a:off x="6175123" y="4551511"/>
            <a:ext cx="1092359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tch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gram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1A3D54D4-25CB-4DFC-BBE0-58752B9C4883}"/>
              </a:ext>
            </a:extLst>
          </p:cNvPr>
          <p:cNvSpPr txBox="1"/>
          <p:nvPr/>
        </p:nvSpPr>
        <p:spPr>
          <a:xfrm>
            <a:off x="4476775" y="4551511"/>
            <a:ext cx="118813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ractive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ing</a:t>
            </a:r>
          </a:p>
        </p:txBody>
      </p:sp>
      <p:sp>
        <p:nvSpPr>
          <p:cNvPr id="24" name="TextBox 36">
            <a:extLst>
              <a:ext uri="{FF2B5EF4-FFF2-40B4-BE49-F238E27FC236}">
                <a16:creationId xmlns:a16="http://schemas.microsoft.com/office/drawing/2014/main" id="{92423DD3-F943-4D48-85FC-9C8215A5CE48}"/>
              </a:ext>
            </a:extLst>
          </p:cNvPr>
          <p:cNvSpPr txBox="1"/>
          <p:nvPr/>
        </p:nvSpPr>
        <p:spPr>
          <a:xfrm>
            <a:off x="4584000" y="1341000"/>
            <a:ext cx="2880000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400" b="1">
                <a:solidFill>
                  <a:srgbClr val="3264C8"/>
                </a:solidFill>
              </a:defRPr>
            </a:lvl1pPr>
          </a:lstStyle>
          <a:p>
            <a:r>
              <a:rPr lang="en-US" dirty="0" err="1"/>
              <a:t>B4P</a:t>
            </a:r>
            <a:r>
              <a:rPr lang="en-US" dirty="0"/>
              <a:t> Data Integration and</a:t>
            </a:r>
            <a:br>
              <a:rPr lang="en-US" dirty="0"/>
            </a:br>
            <a:r>
              <a:rPr lang="en-US" dirty="0"/>
              <a:t>Analytics Engine</a:t>
            </a:r>
          </a:p>
        </p:txBody>
      </p:sp>
      <p:sp>
        <p:nvSpPr>
          <p:cNvPr id="28" name="Cylinder">
            <a:extLst>
              <a:ext uri="{FF2B5EF4-FFF2-40B4-BE49-F238E27FC236}">
                <a16:creationId xmlns:a16="http://schemas.microsoft.com/office/drawing/2014/main" id="{8AA3741A-96AF-4EF4-B8FE-2C9A91917482}"/>
              </a:ext>
            </a:extLst>
          </p:cNvPr>
          <p:cNvSpPr/>
          <p:nvPr/>
        </p:nvSpPr>
        <p:spPr>
          <a:xfrm>
            <a:off x="3342336" y="2897635"/>
            <a:ext cx="293429" cy="387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1600" extrusionOk="0">
                <a:moveTo>
                  <a:pt x="9839" y="0"/>
                </a:moveTo>
                <a:cubicBezTo>
                  <a:pt x="7321" y="0"/>
                  <a:pt x="4803" y="241"/>
                  <a:pt x="2882" y="724"/>
                </a:cubicBezTo>
                <a:cubicBezTo>
                  <a:pt x="-961" y="1689"/>
                  <a:pt x="-961" y="3255"/>
                  <a:pt x="2882" y="4221"/>
                </a:cubicBezTo>
                <a:cubicBezTo>
                  <a:pt x="6724" y="5186"/>
                  <a:pt x="12954" y="5186"/>
                  <a:pt x="16796" y="4221"/>
                </a:cubicBezTo>
                <a:cubicBezTo>
                  <a:pt x="20639" y="3255"/>
                  <a:pt x="20639" y="1689"/>
                  <a:pt x="16796" y="724"/>
                </a:cubicBezTo>
                <a:cubicBezTo>
                  <a:pt x="14875" y="241"/>
                  <a:pt x="12357" y="0"/>
                  <a:pt x="9839" y="0"/>
                </a:cubicBezTo>
                <a:close/>
                <a:moveTo>
                  <a:pt x="0" y="3593"/>
                </a:moveTo>
                <a:lnTo>
                  <a:pt x="0" y="18993"/>
                </a:lnTo>
                <a:cubicBezTo>
                  <a:pt x="0" y="20356"/>
                  <a:pt x="4405" y="21600"/>
                  <a:pt x="9839" y="21600"/>
                </a:cubicBezTo>
                <a:cubicBezTo>
                  <a:pt x="15273" y="21600"/>
                  <a:pt x="19678" y="20356"/>
                  <a:pt x="19678" y="18993"/>
                </a:cubicBezTo>
                <a:lnTo>
                  <a:pt x="19678" y="3593"/>
                </a:lnTo>
                <a:cubicBezTo>
                  <a:pt x="18279" y="4621"/>
                  <a:pt x="14401" y="5357"/>
                  <a:pt x="9839" y="5357"/>
                </a:cubicBezTo>
                <a:cubicBezTo>
                  <a:pt x="5277" y="5357"/>
                  <a:pt x="1399" y="4621"/>
                  <a:pt x="0" y="3593"/>
                </a:cubicBez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0F4E49F9-24D0-4FC5-9457-64F321013583}"/>
              </a:ext>
            </a:extLst>
          </p:cNvPr>
          <p:cNvSpPr/>
          <p:nvPr/>
        </p:nvSpPr>
        <p:spPr>
          <a:xfrm>
            <a:off x="3252185" y="21330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0" name="Rectangle">
            <a:extLst>
              <a:ext uri="{FF2B5EF4-FFF2-40B4-BE49-F238E27FC236}">
                <a16:creationId xmlns:a16="http://schemas.microsoft.com/office/drawing/2014/main" id="{D8FFC1C0-D9C9-482E-BAF2-8ADFB586AB87}"/>
              </a:ext>
            </a:extLst>
          </p:cNvPr>
          <p:cNvSpPr/>
          <p:nvPr/>
        </p:nvSpPr>
        <p:spPr>
          <a:xfrm>
            <a:off x="3328385" y="21838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AE72074-EF23-47C1-AEFD-AA7E736EDF8D}"/>
              </a:ext>
            </a:extLst>
          </p:cNvPr>
          <p:cNvSpPr/>
          <p:nvPr/>
        </p:nvSpPr>
        <p:spPr>
          <a:xfrm>
            <a:off x="3417285" y="2234601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2" name="Computer">
            <a:extLst>
              <a:ext uri="{FF2B5EF4-FFF2-40B4-BE49-F238E27FC236}">
                <a16:creationId xmlns:a16="http://schemas.microsoft.com/office/drawing/2014/main" id="{FDE704CC-92A1-4107-B733-3B4E586E62FB}"/>
              </a:ext>
            </a:extLst>
          </p:cNvPr>
          <p:cNvSpPr/>
          <p:nvPr/>
        </p:nvSpPr>
        <p:spPr>
          <a:xfrm>
            <a:off x="4872647" y="4138587"/>
            <a:ext cx="396388" cy="3705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4" name="World">
            <a:extLst>
              <a:ext uri="{FF2B5EF4-FFF2-40B4-BE49-F238E27FC236}">
                <a16:creationId xmlns:a16="http://schemas.microsoft.com/office/drawing/2014/main" id="{F021997C-839D-4DBB-9A70-8A55A5E0AA71}"/>
              </a:ext>
            </a:extLst>
          </p:cNvPr>
          <p:cNvSpPr/>
          <p:nvPr/>
        </p:nvSpPr>
        <p:spPr>
          <a:xfrm>
            <a:off x="3283764" y="3554639"/>
            <a:ext cx="435973" cy="4359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5" name="TextBox 36">
            <a:extLst>
              <a:ext uri="{FF2B5EF4-FFF2-40B4-BE49-F238E27FC236}">
                <a16:creationId xmlns:a16="http://schemas.microsoft.com/office/drawing/2014/main" id="{83BEF026-06A0-45D5-81E8-48CB522DC6C5}"/>
              </a:ext>
            </a:extLst>
          </p:cNvPr>
          <p:cNvSpPr txBox="1"/>
          <p:nvPr/>
        </p:nvSpPr>
        <p:spPr>
          <a:xfrm>
            <a:off x="1632000" y="1341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noAutofit/>
          </a:bodyPr>
          <a:lstStyle/>
          <a:p>
            <a:pPr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ple Complex</a:t>
            </a:r>
          </a:p>
          <a:p>
            <a:pPr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Sources</a:t>
            </a: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8F4BD6E5-0894-4151-867C-908F75885BB7}"/>
              </a:ext>
            </a:extLst>
          </p:cNvPr>
          <p:cNvSpPr/>
          <p:nvPr/>
        </p:nvSpPr>
        <p:spPr>
          <a:xfrm flipH="1">
            <a:off x="5062972" y="3734823"/>
            <a:ext cx="2561" cy="31621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7" name="Line">
            <a:extLst>
              <a:ext uri="{FF2B5EF4-FFF2-40B4-BE49-F238E27FC236}">
                <a16:creationId xmlns:a16="http://schemas.microsoft.com/office/drawing/2014/main" id="{435F275B-F63F-4644-86A1-D50A28525A32}"/>
              </a:ext>
            </a:extLst>
          </p:cNvPr>
          <p:cNvSpPr/>
          <p:nvPr/>
        </p:nvSpPr>
        <p:spPr>
          <a:xfrm flipV="1">
            <a:off x="6631289" y="3752203"/>
            <a:ext cx="2561" cy="28886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38" name="TextBox 36">
            <a:extLst>
              <a:ext uri="{FF2B5EF4-FFF2-40B4-BE49-F238E27FC236}">
                <a16:creationId xmlns:a16="http://schemas.microsoft.com/office/drawing/2014/main" id="{475FFF56-8B66-452F-9549-8DCE733128E4}"/>
              </a:ext>
            </a:extLst>
          </p:cNvPr>
          <p:cNvSpPr txBox="1"/>
          <p:nvPr/>
        </p:nvSpPr>
        <p:spPr>
          <a:xfrm>
            <a:off x="7536000" y="1341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noAutofit/>
          </a:bodyPr>
          <a:lstStyle/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rehensive Analysis</a:t>
            </a:r>
          </a:p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ted  in Seconds</a:t>
            </a:r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551F1A89-BCA0-460C-99CC-06E188E473DE}"/>
              </a:ext>
            </a:extLst>
          </p:cNvPr>
          <p:cNvSpPr/>
          <p:nvPr/>
        </p:nvSpPr>
        <p:spPr>
          <a:xfrm>
            <a:off x="6470425" y="4095274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9" name="Rectangle">
            <a:extLst>
              <a:ext uri="{FF2B5EF4-FFF2-40B4-BE49-F238E27FC236}">
                <a16:creationId xmlns:a16="http://schemas.microsoft.com/office/drawing/2014/main" id="{88B5600E-39FB-4123-AE8E-55B83964E66B}"/>
              </a:ext>
            </a:extLst>
          </p:cNvPr>
          <p:cNvSpPr/>
          <p:nvPr/>
        </p:nvSpPr>
        <p:spPr>
          <a:xfrm>
            <a:off x="6536133" y="4135763"/>
            <a:ext cx="275796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0" name="Rectangle">
            <a:extLst>
              <a:ext uri="{FF2B5EF4-FFF2-40B4-BE49-F238E27FC236}">
                <a16:creationId xmlns:a16="http://schemas.microsoft.com/office/drawing/2014/main" id="{1394C765-3455-455E-9D27-24C75743AE74}"/>
              </a:ext>
            </a:extLst>
          </p:cNvPr>
          <p:cNvSpPr/>
          <p:nvPr/>
        </p:nvSpPr>
        <p:spPr>
          <a:xfrm>
            <a:off x="6594562" y="4186563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1" name="B4P">
            <a:extLst>
              <a:ext uri="{FF2B5EF4-FFF2-40B4-BE49-F238E27FC236}">
                <a16:creationId xmlns:a16="http://schemas.microsoft.com/office/drawing/2014/main" id="{D764307D-9EF9-44B3-9CD5-0969C0E1AB3C}"/>
              </a:ext>
            </a:extLst>
          </p:cNvPr>
          <p:cNvSpPr txBox="1"/>
          <p:nvPr/>
        </p:nvSpPr>
        <p:spPr>
          <a:xfrm>
            <a:off x="6574083" y="4248659"/>
            <a:ext cx="316752" cy="230832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535353"/>
                </a:solidFill>
              </a:defRPr>
            </a:lvl1pPr>
          </a:lstStyle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</a:p>
        </p:txBody>
      </p:sp>
      <p:sp>
        <p:nvSpPr>
          <p:cNvPr id="43" name="Bar Chart">
            <a:extLst>
              <a:ext uri="{FF2B5EF4-FFF2-40B4-BE49-F238E27FC236}">
                <a16:creationId xmlns:a16="http://schemas.microsoft.com/office/drawing/2014/main" id="{2E539F6F-9C1F-4C17-AC44-044794EE8681}"/>
              </a:ext>
            </a:extLst>
          </p:cNvPr>
          <p:cNvSpPr/>
          <p:nvPr/>
        </p:nvSpPr>
        <p:spPr>
          <a:xfrm>
            <a:off x="9639642" y="2844914"/>
            <a:ext cx="369063" cy="368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6860" y="3004"/>
                </a:moveTo>
                <a:lnTo>
                  <a:pt x="16860" y="19065"/>
                </a:lnTo>
                <a:lnTo>
                  <a:pt x="19553" y="19065"/>
                </a:lnTo>
                <a:lnTo>
                  <a:pt x="19553" y="3004"/>
                </a:lnTo>
                <a:lnTo>
                  <a:pt x="16860" y="3004"/>
                </a:lnTo>
                <a:close/>
                <a:moveTo>
                  <a:pt x="7272" y="6922"/>
                </a:moveTo>
                <a:lnTo>
                  <a:pt x="7272" y="19065"/>
                </a:lnTo>
                <a:lnTo>
                  <a:pt x="9965" y="19065"/>
                </a:lnTo>
                <a:lnTo>
                  <a:pt x="9965" y="6922"/>
                </a:lnTo>
                <a:lnTo>
                  <a:pt x="7272" y="6922"/>
                </a:lnTo>
                <a:close/>
                <a:moveTo>
                  <a:pt x="12066" y="10127"/>
                </a:moveTo>
                <a:lnTo>
                  <a:pt x="12066" y="19065"/>
                </a:lnTo>
                <a:lnTo>
                  <a:pt x="14759" y="19065"/>
                </a:lnTo>
                <a:lnTo>
                  <a:pt x="14759" y="10127"/>
                </a:lnTo>
                <a:lnTo>
                  <a:pt x="12066" y="10127"/>
                </a:lnTo>
                <a:close/>
                <a:moveTo>
                  <a:pt x="2478" y="15151"/>
                </a:moveTo>
                <a:lnTo>
                  <a:pt x="2478" y="19065"/>
                </a:lnTo>
                <a:lnTo>
                  <a:pt x="5171" y="19065"/>
                </a:lnTo>
                <a:lnTo>
                  <a:pt x="5171" y="15151"/>
                </a:lnTo>
                <a:lnTo>
                  <a:pt x="2478" y="15151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Line Graph">
            <a:extLst>
              <a:ext uri="{FF2B5EF4-FFF2-40B4-BE49-F238E27FC236}">
                <a16:creationId xmlns:a16="http://schemas.microsoft.com/office/drawing/2014/main" id="{7896D580-56BD-4675-9195-D5AC43ADA9B4}"/>
              </a:ext>
            </a:extLst>
          </p:cNvPr>
          <p:cNvSpPr/>
          <p:nvPr/>
        </p:nvSpPr>
        <p:spPr>
          <a:xfrm>
            <a:off x="9626942" y="3589505"/>
            <a:ext cx="416598" cy="4154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9991" y="7364"/>
                </a:moveTo>
                <a:lnTo>
                  <a:pt x="17165" y="8228"/>
                </a:lnTo>
                <a:lnTo>
                  <a:pt x="17811" y="8832"/>
                </a:lnTo>
                <a:lnTo>
                  <a:pt x="13288" y="13689"/>
                </a:lnTo>
                <a:lnTo>
                  <a:pt x="10021" y="10341"/>
                </a:lnTo>
                <a:lnTo>
                  <a:pt x="2932" y="17951"/>
                </a:lnTo>
                <a:lnTo>
                  <a:pt x="3799" y="18763"/>
                </a:lnTo>
                <a:lnTo>
                  <a:pt x="10041" y="12061"/>
                </a:lnTo>
                <a:lnTo>
                  <a:pt x="13327" y="15430"/>
                </a:lnTo>
                <a:lnTo>
                  <a:pt x="13766" y="14916"/>
                </a:lnTo>
                <a:lnTo>
                  <a:pt x="18678" y="9644"/>
                </a:lnTo>
                <a:lnTo>
                  <a:pt x="19324" y="10250"/>
                </a:lnTo>
                <a:lnTo>
                  <a:pt x="19991" y="7364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catter Graph">
            <a:extLst>
              <a:ext uri="{FF2B5EF4-FFF2-40B4-BE49-F238E27FC236}">
                <a16:creationId xmlns:a16="http://schemas.microsoft.com/office/drawing/2014/main" id="{F6AF3C31-C4EF-43BB-A08C-786119A73AD4}"/>
              </a:ext>
            </a:extLst>
          </p:cNvPr>
          <p:cNvSpPr/>
          <p:nvPr/>
        </p:nvSpPr>
        <p:spPr>
          <a:xfrm>
            <a:off x="9649546" y="2133000"/>
            <a:ext cx="347642" cy="3467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6"/>
                </a:lnTo>
                <a:cubicBezTo>
                  <a:pt x="0" y="21513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3"/>
                  <a:pt x="21600" y="21406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41"/>
                  <a:pt x="970" y="20434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4855" y="4365"/>
                </a:moveTo>
                <a:cubicBezTo>
                  <a:pt x="14545" y="4365"/>
                  <a:pt x="14235" y="4483"/>
                  <a:pt x="13998" y="4721"/>
                </a:cubicBezTo>
                <a:cubicBezTo>
                  <a:pt x="13525" y="5195"/>
                  <a:pt x="13525" y="5964"/>
                  <a:pt x="13998" y="6439"/>
                </a:cubicBezTo>
                <a:cubicBezTo>
                  <a:pt x="14472" y="6913"/>
                  <a:pt x="15239" y="6913"/>
                  <a:pt x="15712" y="6439"/>
                </a:cubicBezTo>
                <a:cubicBezTo>
                  <a:pt x="16185" y="5964"/>
                  <a:pt x="16185" y="5195"/>
                  <a:pt x="15712" y="4721"/>
                </a:cubicBezTo>
                <a:cubicBezTo>
                  <a:pt x="15475" y="4483"/>
                  <a:pt x="15165" y="4365"/>
                  <a:pt x="14855" y="4365"/>
                </a:cubicBezTo>
                <a:close/>
                <a:moveTo>
                  <a:pt x="4336" y="6020"/>
                </a:moveTo>
                <a:cubicBezTo>
                  <a:pt x="4026" y="6020"/>
                  <a:pt x="3716" y="6139"/>
                  <a:pt x="3479" y="6376"/>
                </a:cubicBezTo>
                <a:cubicBezTo>
                  <a:pt x="3006" y="6851"/>
                  <a:pt x="3006" y="7620"/>
                  <a:pt x="3479" y="8095"/>
                </a:cubicBezTo>
                <a:cubicBezTo>
                  <a:pt x="3953" y="8569"/>
                  <a:pt x="4720" y="8569"/>
                  <a:pt x="5193" y="8095"/>
                </a:cubicBezTo>
                <a:cubicBezTo>
                  <a:pt x="5666" y="7620"/>
                  <a:pt x="5666" y="6851"/>
                  <a:pt x="5193" y="6376"/>
                </a:cubicBezTo>
                <a:cubicBezTo>
                  <a:pt x="4956" y="6139"/>
                  <a:pt x="4646" y="6020"/>
                  <a:pt x="4336" y="6020"/>
                </a:cubicBezTo>
                <a:close/>
                <a:moveTo>
                  <a:pt x="9154" y="9823"/>
                </a:moveTo>
                <a:cubicBezTo>
                  <a:pt x="8844" y="9823"/>
                  <a:pt x="8534" y="9942"/>
                  <a:pt x="8297" y="10179"/>
                </a:cubicBezTo>
                <a:cubicBezTo>
                  <a:pt x="7824" y="10653"/>
                  <a:pt x="7824" y="11422"/>
                  <a:pt x="8297" y="11897"/>
                </a:cubicBezTo>
                <a:cubicBezTo>
                  <a:pt x="8770" y="12372"/>
                  <a:pt x="9537" y="12372"/>
                  <a:pt x="10011" y="11897"/>
                </a:cubicBezTo>
                <a:cubicBezTo>
                  <a:pt x="10484" y="11422"/>
                  <a:pt x="10484" y="10653"/>
                  <a:pt x="10011" y="10179"/>
                </a:cubicBezTo>
                <a:cubicBezTo>
                  <a:pt x="9774" y="9942"/>
                  <a:pt x="9464" y="9823"/>
                  <a:pt x="9154" y="9823"/>
                </a:cubicBezTo>
                <a:close/>
                <a:moveTo>
                  <a:pt x="16522" y="12697"/>
                </a:moveTo>
                <a:cubicBezTo>
                  <a:pt x="16211" y="12697"/>
                  <a:pt x="15901" y="12816"/>
                  <a:pt x="15665" y="13053"/>
                </a:cubicBezTo>
                <a:cubicBezTo>
                  <a:pt x="15191" y="13528"/>
                  <a:pt x="15191" y="14297"/>
                  <a:pt x="15665" y="14771"/>
                </a:cubicBezTo>
                <a:cubicBezTo>
                  <a:pt x="16138" y="15246"/>
                  <a:pt x="16905" y="15246"/>
                  <a:pt x="17378" y="14771"/>
                </a:cubicBezTo>
                <a:cubicBezTo>
                  <a:pt x="17852" y="14297"/>
                  <a:pt x="17852" y="13528"/>
                  <a:pt x="17378" y="13053"/>
                </a:cubicBezTo>
                <a:cubicBezTo>
                  <a:pt x="17142" y="12816"/>
                  <a:pt x="16832" y="12697"/>
                  <a:pt x="16522" y="12697"/>
                </a:cubicBezTo>
                <a:close/>
                <a:moveTo>
                  <a:pt x="6257" y="15838"/>
                </a:moveTo>
                <a:cubicBezTo>
                  <a:pt x="5947" y="15838"/>
                  <a:pt x="5637" y="15957"/>
                  <a:pt x="5400" y="16194"/>
                </a:cubicBezTo>
                <a:cubicBezTo>
                  <a:pt x="4927" y="16669"/>
                  <a:pt x="4927" y="17438"/>
                  <a:pt x="5400" y="17912"/>
                </a:cubicBezTo>
                <a:cubicBezTo>
                  <a:pt x="5873" y="18387"/>
                  <a:pt x="6640" y="18387"/>
                  <a:pt x="7114" y="17912"/>
                </a:cubicBezTo>
                <a:cubicBezTo>
                  <a:pt x="7587" y="17438"/>
                  <a:pt x="7587" y="16669"/>
                  <a:pt x="7114" y="16194"/>
                </a:cubicBezTo>
                <a:cubicBezTo>
                  <a:pt x="6877" y="15957"/>
                  <a:pt x="6567" y="15838"/>
                  <a:pt x="6257" y="15838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9C506DCC-9081-4846-88AF-2F32E750F38E}"/>
              </a:ext>
            </a:extLst>
          </p:cNvPr>
          <p:cNvSpPr txBox="1"/>
          <p:nvPr/>
        </p:nvSpPr>
        <p:spPr>
          <a:xfrm>
            <a:off x="8195647" y="2205000"/>
            <a:ext cx="136473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cel</a:t>
            </a:r>
          </a:p>
        </p:txBody>
      </p:sp>
      <p:sp>
        <p:nvSpPr>
          <p:cNvPr id="47" name="TextBox 37">
            <a:extLst>
              <a:ext uri="{FF2B5EF4-FFF2-40B4-BE49-F238E27FC236}">
                <a16:creationId xmlns:a16="http://schemas.microsoft.com/office/drawing/2014/main" id="{63A717A5-F7E8-4DE1-A842-C51444D36F72}"/>
              </a:ext>
            </a:extLst>
          </p:cNvPr>
          <p:cNvSpPr txBox="1"/>
          <p:nvPr/>
        </p:nvSpPr>
        <p:spPr>
          <a:xfrm>
            <a:off x="8192378" y="292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b browsers</a:t>
            </a:r>
          </a:p>
        </p:txBody>
      </p:sp>
      <p:sp>
        <p:nvSpPr>
          <p:cNvPr id="48" name="Pfeil: nach rechts 47">
            <a:extLst>
              <a:ext uri="{FF2B5EF4-FFF2-40B4-BE49-F238E27FC236}">
                <a16:creationId xmlns:a16="http://schemas.microsoft.com/office/drawing/2014/main" id="{7EBD0412-F6B8-4523-AC3C-1B679D040F08}"/>
              </a:ext>
            </a:extLst>
          </p:cNvPr>
          <p:cNvSpPr/>
          <p:nvPr/>
        </p:nvSpPr>
        <p:spPr>
          <a:xfrm>
            <a:off x="4005771" y="2766528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Pfeil: nach rechts 47">
            <a:extLst>
              <a:ext uri="{FF2B5EF4-FFF2-40B4-BE49-F238E27FC236}">
                <a16:creationId xmlns:a16="http://schemas.microsoft.com/office/drawing/2014/main" id="{11E1C9DF-B689-8741-9F99-18AE3C7A0D38}"/>
              </a:ext>
            </a:extLst>
          </p:cNvPr>
          <p:cNvSpPr/>
          <p:nvPr/>
        </p:nvSpPr>
        <p:spPr>
          <a:xfrm>
            <a:off x="7328378" y="2757906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TextBox 37">
            <a:extLst>
              <a:ext uri="{FF2B5EF4-FFF2-40B4-BE49-F238E27FC236}">
                <a16:creationId xmlns:a16="http://schemas.microsoft.com/office/drawing/2014/main" id="{076D2205-CCF8-4BEC-9461-8F30A2BAE797}"/>
              </a:ext>
            </a:extLst>
          </p:cNvPr>
          <p:cNvSpPr txBox="1"/>
          <p:nvPr/>
        </p:nvSpPr>
        <p:spPr>
          <a:xfrm>
            <a:off x="8192378" y="364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outputs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00FA5A38-322D-4DBF-954E-771F03CD47BF}"/>
              </a:ext>
            </a:extLst>
          </p:cNvPr>
          <p:cNvCxnSpPr>
            <a:cxnSpLocks/>
          </p:cNvCxnSpPr>
          <p:nvPr/>
        </p:nvCxnSpPr>
        <p:spPr>
          <a:xfrm>
            <a:off x="1704000" y="5085000"/>
            <a:ext cx="842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riangle">
            <a:extLst>
              <a:ext uri="{FF2B5EF4-FFF2-40B4-BE49-F238E27FC236}">
                <a16:creationId xmlns:a16="http://schemas.microsoft.com/office/drawing/2014/main" id="{6165BFDE-21D5-4C83-8E11-E52757C45210}"/>
              </a:ext>
            </a:extLst>
          </p:cNvPr>
          <p:cNvSpPr/>
          <p:nvPr/>
        </p:nvSpPr>
        <p:spPr>
          <a:xfrm rot="5400000">
            <a:off x="5743041" y="2989959"/>
            <a:ext cx="538348" cy="6964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1" name="B4P">
            <a:extLst>
              <a:ext uri="{FF2B5EF4-FFF2-40B4-BE49-F238E27FC236}">
                <a16:creationId xmlns:a16="http://schemas.microsoft.com/office/drawing/2014/main" id="{FA69CB53-BDD1-4819-B0E7-7CD4FBAB3746}"/>
              </a:ext>
            </a:extLst>
          </p:cNvPr>
          <p:cNvSpPr txBox="1"/>
          <p:nvPr/>
        </p:nvSpPr>
        <p:spPr>
          <a:xfrm>
            <a:off x="5346365" y="2421000"/>
            <a:ext cx="1289775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53" name="TextBox 37">
            <a:extLst>
              <a:ext uri="{FF2B5EF4-FFF2-40B4-BE49-F238E27FC236}">
                <a16:creationId xmlns:a16="http://schemas.microsoft.com/office/drawing/2014/main" id="{B734889D-B431-4E73-B9F6-917DC764AA95}"/>
              </a:ext>
            </a:extLst>
          </p:cNvPr>
          <p:cNvSpPr txBox="1"/>
          <p:nvPr/>
        </p:nvSpPr>
        <p:spPr>
          <a:xfrm>
            <a:off x="3216000" y="5229000"/>
            <a:ext cx="5760000" cy="7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Files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Excel (.xlsx, .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xlsm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, CSV/TSV, HTML/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HTML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XML, JSON, ZIP, text files</a:t>
            </a:r>
          </a:p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bases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Exports (SAP,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ilemaker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Oracle, MS Access, Salesforce, etc.)</a:t>
            </a:r>
          </a:p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b data: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Internet sources of structured data (web sites, web services)</a:t>
            </a:r>
          </a:p>
        </p:txBody>
      </p:sp>
      <p:sp>
        <p:nvSpPr>
          <p:cNvPr id="54" name="TextBox 37">
            <a:extLst>
              <a:ext uri="{FF2B5EF4-FFF2-40B4-BE49-F238E27FC236}">
                <a16:creationId xmlns:a16="http://schemas.microsoft.com/office/drawing/2014/main" id="{6228024A-8D76-4718-A047-B48653DF6B1F}"/>
              </a:ext>
            </a:extLst>
          </p:cNvPr>
          <p:cNvSpPr txBox="1"/>
          <p:nvPr/>
        </p:nvSpPr>
        <p:spPr>
          <a:xfrm>
            <a:off x="1704000" y="5229000"/>
            <a:ext cx="1296000" cy="72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 anchor="ctr" anchorCtr="0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pPr marL="1165225" indent="-1165225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Sources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97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900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ventional methods of data management are inadequat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11232624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ime-consuming task repeating regularly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Work done (past due date, poor quality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484784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348880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149080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484784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: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4869000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28498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133000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260837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285000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340768"/>
            <a:ext cx="540004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1772892"/>
            <a:ext cx="863832" cy="3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133000"/>
            <a:ext cx="72000" cy="2158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1772892"/>
            <a:ext cx="612216" cy="487945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2564904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3609000"/>
            <a:ext cx="2808304" cy="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2780928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2564904"/>
            <a:ext cx="144016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421000"/>
            <a:ext cx="216000" cy="1439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401108"/>
            <a:ext cx="1512088" cy="37245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4521534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3933056"/>
            <a:ext cx="108004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3933000"/>
            <a:ext cx="1296104" cy="58853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3861000"/>
            <a:ext cx="2664296" cy="5401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4773562"/>
            <a:ext cx="1655792" cy="34746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4653136"/>
            <a:ext cx="215852" cy="2158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429000"/>
            <a:ext cx="1512281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2996952"/>
            <a:ext cx="1728184" cy="36004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373056"/>
            <a:ext cx="216000" cy="21594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068960"/>
            <a:ext cx="899792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ihandform 243">
            <a:extLst>
              <a:ext uri="{FF2B5EF4-FFF2-40B4-BE49-F238E27FC236}">
                <a16:creationId xmlns:a16="http://schemas.microsoft.com/office/drawing/2014/main" id="{942DF992-7F4D-404F-932E-14EF3B898C15}"/>
              </a:ext>
            </a:extLst>
          </p:cNvPr>
          <p:cNvSpPr/>
          <p:nvPr/>
        </p:nvSpPr>
        <p:spPr>
          <a:xfrm>
            <a:off x="2496000" y="5013176"/>
            <a:ext cx="759981" cy="562062"/>
          </a:xfrm>
          <a:custGeom>
            <a:avLst/>
            <a:gdLst>
              <a:gd name="connsiteX0" fmla="*/ 354030 w 759981"/>
              <a:gd name="connsiteY0" fmla="*/ 0 h 562062"/>
              <a:gd name="connsiteX1" fmla="*/ 354030 w 759981"/>
              <a:gd name="connsiteY1" fmla="*/ 58722 h 562062"/>
              <a:gd name="connsiteX2" fmla="*/ 270140 w 759981"/>
              <a:gd name="connsiteY2" fmla="*/ 134223 h 562062"/>
              <a:gd name="connsiteX3" fmla="*/ 1692 w 759981"/>
              <a:gd name="connsiteY3" fmla="*/ 176168 h 562062"/>
              <a:gd name="connsiteX4" fmla="*/ 412753 w 759981"/>
              <a:gd name="connsiteY4" fmla="*/ 251669 h 562062"/>
              <a:gd name="connsiteX5" fmla="*/ 756701 w 759981"/>
              <a:gd name="connsiteY5" fmla="*/ 402671 h 562062"/>
              <a:gd name="connsiteX6" fmla="*/ 203028 w 759981"/>
              <a:gd name="connsiteY6" fmla="*/ 419449 h 562062"/>
              <a:gd name="connsiteX7" fmla="*/ 77193 w 759981"/>
              <a:gd name="connsiteY7" fmla="*/ 562062 h 56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981" h="562062">
                <a:moveTo>
                  <a:pt x="354030" y="0"/>
                </a:moveTo>
                <a:cubicBezTo>
                  <a:pt x="361021" y="18176"/>
                  <a:pt x="368012" y="36352"/>
                  <a:pt x="354030" y="58722"/>
                </a:cubicBezTo>
                <a:cubicBezTo>
                  <a:pt x="340048" y="81092"/>
                  <a:pt x="328863" y="114649"/>
                  <a:pt x="270140" y="134223"/>
                </a:cubicBezTo>
                <a:cubicBezTo>
                  <a:pt x="211417" y="153797"/>
                  <a:pt x="-22077" y="156594"/>
                  <a:pt x="1692" y="176168"/>
                </a:cubicBezTo>
                <a:cubicBezTo>
                  <a:pt x="25461" y="195742"/>
                  <a:pt x="286918" y="213919"/>
                  <a:pt x="412753" y="251669"/>
                </a:cubicBezTo>
                <a:cubicBezTo>
                  <a:pt x="538588" y="289419"/>
                  <a:pt x="791655" y="374708"/>
                  <a:pt x="756701" y="402671"/>
                </a:cubicBezTo>
                <a:cubicBezTo>
                  <a:pt x="721747" y="430634"/>
                  <a:pt x="316279" y="392884"/>
                  <a:pt x="203028" y="419449"/>
                </a:cubicBezTo>
                <a:cubicBezTo>
                  <a:pt x="89777" y="446014"/>
                  <a:pt x="83485" y="504038"/>
                  <a:pt x="77193" y="562062"/>
                </a:cubicBezTo>
              </a:path>
            </a:pathLst>
          </a:cu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2853000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520000" y="2277000"/>
            <a:ext cx="1728000" cy="360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takes Happen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149000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3933000"/>
            <a:ext cx="400200" cy="21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4653056"/>
            <a:ext cx="832200" cy="28794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: Problem Statement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ventional Solutions are Complex and Unsustainabl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AE38A44-B5E8-4DAB-8EFD-45E47FC569DF}"/>
              </a:ext>
            </a:extLst>
          </p:cNvPr>
          <p:cNvSpPr/>
          <p:nvPr/>
        </p:nvSpPr>
        <p:spPr>
          <a:xfrm>
            <a:off x="480000" y="1269000"/>
            <a:ext cx="2160000" cy="1224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3C0270E-C324-4163-A656-16F320E1823A}"/>
              </a:ext>
            </a:extLst>
          </p:cNvPr>
          <p:cNvSpPr/>
          <p:nvPr/>
        </p:nvSpPr>
        <p:spPr>
          <a:xfrm>
            <a:off x="480000" y="2781000"/>
            <a:ext cx="2160000" cy="1656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DDC13B4-C454-46AB-85A5-096651790B39}"/>
              </a:ext>
            </a:extLst>
          </p:cNvPr>
          <p:cNvSpPr/>
          <p:nvPr/>
        </p:nvSpPr>
        <p:spPr>
          <a:xfrm>
            <a:off x="480000" y="4725000"/>
            <a:ext cx="2160000" cy="1440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F6F1041-4C09-427B-9A50-13718595F67D}"/>
              </a:ext>
            </a:extLst>
          </p:cNvPr>
          <p:cNvSpPr/>
          <p:nvPr/>
        </p:nvSpPr>
        <p:spPr>
          <a:xfrm>
            <a:off x="2784000" y="5877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depending on others, expensive, bothering others repeatedly for approval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6E1620E-CA03-4F44-AA56-896573CA9024}"/>
              </a:ext>
            </a:extLst>
          </p:cNvPr>
          <p:cNvSpPr/>
          <p:nvPr/>
        </p:nvSpPr>
        <p:spPr>
          <a:xfrm>
            <a:off x="2784000" y="4149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others having difficulties understanding your work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72B769E-89DD-4884-9C9A-7E748EC5AE26}"/>
              </a:ext>
            </a:extLst>
          </p:cNvPr>
          <p:cNvSpPr/>
          <p:nvPr/>
        </p:nvSpPr>
        <p:spPr>
          <a:xfrm>
            <a:off x="2784000" y="22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 code and poor performance for tasks if they are not that simple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BA41ED9-4CC3-4023-ADBF-5758259247C2}"/>
              </a:ext>
            </a:extLst>
          </p:cNvPr>
          <p:cNvSpPr/>
          <p:nvPr/>
        </p:nvSpPr>
        <p:spPr>
          <a:xfrm>
            <a:off x="2784000" y="1269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can become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will drop significantly when working with high data volumes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5B275BA-B613-4C7D-A4AB-FF78182C226F}"/>
              </a:ext>
            </a:extLst>
          </p:cNvPr>
          <p:cNvSpPr/>
          <p:nvPr/>
        </p:nvSpPr>
        <p:spPr>
          <a:xfrm>
            <a:off x="2784000" y="2781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very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E493D41-9BB3-4C6B-B8E1-56B5D00FF627}"/>
              </a:ext>
            </a:extLst>
          </p:cNvPr>
          <p:cNvSpPr/>
          <p:nvPr/>
        </p:nvSpPr>
        <p:spPr>
          <a:xfrm>
            <a:off x="2784000" y="479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Analytics and Execution Engin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Data Analysis with Maximal Efficiency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342509" y="5876960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apid, High Quality Results</a:t>
            </a: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2273854"/>
            <a:ext cx="11448000" cy="2781807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4562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source data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188578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 &amp;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46437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50521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69621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4303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309845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332594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 data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10979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206373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erform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50077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90133" y="2647109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66101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85829" y="2503109"/>
            <a:ext cx="1152000" cy="4320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845270" y="2647125"/>
            <a:ext cx="144016" cy="144016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456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1885781" y="3079109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332594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6610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206373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 your table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4642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86581" y="3079109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52685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403277" y="4240413"/>
            <a:ext cx="134072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700000" y="1648916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744000" y="5153854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76000" y="5369854"/>
            <a:ext cx="32383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Integrated analysis completed in seconds</a:t>
            </a:r>
            <a:endParaRPr lang="en-US" sz="1200" dirty="0"/>
          </a:p>
        </p:txBody>
      </p:sp>
      <p:sp>
        <p:nvSpPr>
          <p:cNvPr id="45" name="Pfeil: nach rechts 95">
            <a:extLst>
              <a:ext uri="{FF2B5EF4-FFF2-40B4-BE49-F238E27FC236}">
                <a16:creationId xmlns:a16="http://schemas.microsoft.com/office/drawing/2014/main" id="{0B9DB3E4-EDDE-A64C-B155-6CB81DA9A1E0}"/>
              </a:ext>
            </a:extLst>
          </p:cNvPr>
          <p:cNvSpPr/>
          <p:nvPr/>
        </p:nvSpPr>
        <p:spPr>
          <a:xfrm rot="5400000">
            <a:off x="5774101" y="5117854"/>
            <a:ext cx="720000" cy="648000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Rechteck 4">
            <a:extLst>
              <a:ext uri="{FF2B5EF4-FFF2-40B4-BE49-F238E27FC236}">
                <a16:creationId xmlns:a16="http://schemas.microsoft.com/office/drawing/2014/main" id="{621E4257-2177-4F40-ACBA-57A597C98945}"/>
              </a:ext>
            </a:extLst>
          </p:cNvPr>
          <p:cNvSpPr/>
          <p:nvPr/>
        </p:nvSpPr>
        <p:spPr>
          <a:xfrm>
            <a:off x="4406101" y="1274598"/>
            <a:ext cx="3456000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rt Data Analysis Task</a:t>
            </a:r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3EFF7F-449D-4F55-9E77-106D971326C0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F8D6846-E40A-4592-837D-6801F72B1F67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542C93E-9C7C-44BF-AAAA-4EAB5E75921D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1803D73-4E2C-4DE6-A00C-82E74F33F213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4DA482-224F-4E96-98FC-73505DD4E89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al-world Use Cases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C00CAE2-7F3C-4077-9E90-5DF69A0E1046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2C70040-A6E7-435F-AFE5-DE4111B2F7E9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DAE3CCA1-A945-4578-A6C6-74FAB002A516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7EFB9D1-95EC-497A-B688-5E3B35EE28CF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0D79A87A-6EFF-433F-B00F-C518E822FC9B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1406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D99C55-017C-4C36-82C1-575198FA047B}"/>
              </a:ext>
            </a:extLst>
          </p:cNvPr>
          <p:cNvSpPr/>
          <p:nvPr/>
        </p:nvSpPr>
        <p:spPr>
          <a:xfrm>
            <a:off x="6096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 syntax: Easy to read, learn, understand and ru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ensive library 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ADABED-9A48-47F9-A643-547ED3A5E315}"/>
              </a:ext>
            </a:extLst>
          </p:cNvPr>
          <p:cNvSpPr/>
          <p:nvPr/>
        </p:nvSpPr>
        <p:spPr>
          <a:xfrm>
            <a:off x="480000" y="4653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an architecture of the eng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34133EB-54DE-4FA0-97C8-78E414B1323D}"/>
              </a:ext>
            </a:extLst>
          </p:cNvPr>
          <p:cNvSpPr/>
          <p:nvPr/>
        </p:nvSpPr>
        <p:spPr>
          <a:xfrm>
            <a:off x="20640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21B0682-4B55-4660-96B2-8772D415A569}"/>
              </a:ext>
            </a:extLst>
          </p:cNvPr>
          <p:cNvSpPr/>
          <p:nvPr/>
        </p:nvSpPr>
        <p:spPr>
          <a:xfrm>
            <a:off x="7787900" y="1232354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  <p:pic>
        <p:nvPicPr>
          <p:cNvPr id="14" name="Picture 9" descr="Diagram, application&#10;&#10;Description automatically generated">
            <a:extLst>
              <a:ext uri="{FF2B5EF4-FFF2-40B4-BE49-F238E27FC236}">
                <a16:creationId xmlns:a16="http://schemas.microsoft.com/office/drawing/2014/main" id="{5D358BD5-4D07-497E-AC66-5545E5739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000" y="1629000"/>
            <a:ext cx="2560992" cy="267464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67134BA-D0FE-4DE4-B02D-3F3302147857}"/>
              </a:ext>
            </a:extLst>
          </p:cNvPr>
          <p:cNvSpPr txBox="1"/>
          <p:nvPr/>
        </p:nvSpPr>
        <p:spPr>
          <a:xfrm>
            <a:off x="5520000" y="1989000"/>
            <a:ext cx="6264000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Membership List.csv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800" b="1" noProof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Beginners = Novices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 Family Name, City }, { Last Name, Town }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[Level]==Novice, [Level]=Beginner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{Last Name,First Name},</a:t>
            </a:r>
          </a:p>
          <a:p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		{Level,Town}, append, " or " 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Last Name,  First Name });</a:t>
            </a: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  { Level, First Name, Last Name, Town }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noProof="1">
                <a:solidFill>
                  <a:srgbClr val="285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, Soccer Club, </a:t>
            </a:r>
            <a:r>
              <a:rPr lang="en-US" sz="800" b="1" noProof="1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Soccer Club Membership List.xlsx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noProof="1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noProof="1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 </a:t>
            </a:r>
            <a:r>
              <a:rPr lang="en-US" sz="800" b="1" noProof="1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455496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455416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itional data formats can be </a:t>
            </a:r>
            <a:r>
              <a:rPr lang="en-US" sz="1400" b="1">
                <a:solidFill>
                  <a:schemeClr val="bg1"/>
                </a:solidFill>
              </a:rPr>
              <a:t>supported </a:t>
            </a:r>
            <a:r>
              <a:rPr lang="en-US" sz="1400" b="1" dirty="0">
                <a:solidFill>
                  <a:schemeClr val="bg1"/>
                </a:solidFill>
              </a:rPr>
              <a:t>easily using </a:t>
            </a:r>
            <a:r>
              <a:rPr lang="en-US" sz="1400" b="1">
                <a:solidFill>
                  <a:schemeClr val="bg1"/>
                </a:solidFill>
              </a:rPr>
              <a:t>a B4P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>
                <a:solidFill>
                  <a:schemeClr val="bg1"/>
                </a:solidFill>
              </a:rPr>
              <a:t>library extension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Flussdiagramm: Zentralspeicher 10">
            <a:extLst>
              <a:ext uri="{FF2B5EF4-FFF2-40B4-BE49-F238E27FC236}">
                <a16:creationId xmlns:a16="http://schemas.microsoft.com/office/drawing/2014/main" id="{4D530EB4-9820-413C-8481-FB8BF1F415C5}"/>
              </a:ext>
            </a:extLst>
          </p:cNvPr>
          <p:cNvSpPr/>
          <p:nvPr/>
        </p:nvSpPr>
        <p:spPr>
          <a:xfrm>
            <a:off x="4872000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" name="Flussdiagramm: Zentralspeicher 11">
            <a:extLst>
              <a:ext uri="{FF2B5EF4-FFF2-40B4-BE49-F238E27FC236}">
                <a16:creationId xmlns:a16="http://schemas.microsoft.com/office/drawing/2014/main" id="{E1F651FA-25BD-4293-AE13-10551EF971F0}"/>
              </a:ext>
            </a:extLst>
          </p:cNvPr>
          <p:cNvSpPr/>
          <p:nvPr/>
        </p:nvSpPr>
        <p:spPr>
          <a:xfrm>
            <a:off x="10847976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57</TotalTime>
  <Words>6115</Words>
  <Application>Microsoft Macintosh PowerPoint</Application>
  <PresentationFormat>Widescreen</PresentationFormat>
  <Paragraphs>817</Paragraphs>
  <Slides>3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Overview:  Integration and Analytics Engine</vt:lpstr>
      <vt:lpstr>B4P: Table of Contents</vt:lpstr>
      <vt:lpstr>B4P: Problem Statement Conventional methods of data management are inadequate</vt:lpstr>
      <vt:lpstr>B4P: Problem Statement Conventional Solutions are Complex and Unsustainable</vt:lpstr>
      <vt:lpstr>B4P Analytics and Execution Engine Automate your Data Analysis with Maximal Efficiency</vt:lpstr>
      <vt:lpstr>B4P Table of Contents</vt:lpstr>
      <vt:lpstr>B4P Analytics and Execution Engine Based on 14 Years of Experience Solving Problems</vt:lpstr>
      <vt:lpstr>B4P Analytics and Execution Engine Supported Data Formats</vt:lpstr>
      <vt:lpstr>B4P Table of Contents</vt:lpstr>
      <vt:lpstr>B4P Real-world Use Case #1 Information interchange between multiple different databases</vt:lpstr>
      <vt:lpstr>B4P Real-world Use Case #2 Heterogeneous data integration from branch offices worldwide</vt:lpstr>
      <vt:lpstr>B4P Real-world Use Case #3 Enriched Business Intelligence</vt:lpstr>
      <vt:lpstr>B4P Table of Contents</vt:lpstr>
      <vt:lpstr>B4P: The Language Key Benefits of a Low-Code Language Approach</vt:lpstr>
      <vt:lpstr>B4P: The Language Language Syntax and Semantics</vt:lpstr>
      <vt:lpstr>B4P Table of Contents</vt:lpstr>
      <vt:lpstr>B4P: Program Example 1 Merging 2 Tables: Problem Statement</vt:lpstr>
      <vt:lpstr>B4P Example: Low-code Solution 8 statements:  load, clean, align semantics, merge, and save</vt:lpstr>
      <vt:lpstr>B4P Example: Low-code Solution 7 additional statements to add style to the Excel file</vt:lpstr>
      <vt:lpstr>B4P: Program Example 2 U.S. Presidents from Wikipedia</vt:lpstr>
      <vt:lpstr>B4P: Program Example 2 16 Statements, 0 Loops and 0 Variables to Straighten up the Presidents</vt:lpstr>
      <vt:lpstr>B4P: Program Example 3 Stock Data (SP 500 and NASDAQ 100) Combined</vt:lpstr>
      <vt:lpstr>B4P: Program Example 3 13 Statements, 1 loop and 1 variable do the Job</vt:lpstr>
      <vt:lpstr>B4P: Program Example 3 8 additional statements for style and color</vt:lpstr>
      <vt:lpstr>B4P  Beyond Former Performance.</vt:lpstr>
      <vt:lpstr>B4P Table of Contents</vt:lpstr>
      <vt:lpstr>B4P: Beyond Former Performance New in Release 8.00</vt:lpstr>
      <vt:lpstr>B4P Use Case Automatic documentation generation for website www.b4p.app</vt:lpstr>
      <vt:lpstr>B4P Use Case Automatic Document Generation for www.b4p.app using B4P</vt:lpstr>
      <vt:lpstr>ARCHIVE</vt:lpstr>
      <vt:lpstr>B4P The Analytics and Execution Engine: Overview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Rafael Richards</cp:lastModifiedBy>
  <cp:revision>313</cp:revision>
  <cp:lastPrinted>2012-05-04T14:30:29Z</cp:lastPrinted>
  <dcterms:created xsi:type="dcterms:W3CDTF">2016-02-06T20:40:56Z</dcterms:created>
  <dcterms:modified xsi:type="dcterms:W3CDTF">2021-05-20T02:27:53Z</dcterms:modified>
</cp:coreProperties>
</file>